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Size Bracket" id="{6010F9DD-DE00-4A60-A1AB-7E52E2EFC419}">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heme" Target="theme/theme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5/10/relationships/revisionInfo" Target="revisionInfo.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640000000000001</c:v>
                </c:pt>
                <c:pt idx="3">
                  <c:v>0.1154</c:v>
                </c:pt>
                <c:pt idx="4">
                  <c:v>0.4264</c:v>
                </c:pt>
                <c:pt idx="5">
                  <c:v>0.211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640000000000001</c:v>
                </c:pt>
                <c:pt idx="3">
                  <c:v>0.1154</c:v>
                </c:pt>
                <c:pt idx="4">
                  <c:v>0.4264</c:v>
                </c:pt>
                <c:pt idx="5">
                  <c:v>0.211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860000000000001</c:v>
                </c:pt>
                <c:pt idx="2">
                  <c:v>0.20039999999999999</c:v>
                </c:pt>
                <c:pt idx="3">
                  <c:v>0.13109999999999999</c:v>
                </c:pt>
                <c:pt idx="4">
                  <c:v>0.28060000000000002</c:v>
                </c:pt>
                <c:pt idx="5">
                  <c:v>4.90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7120963405814161E-2</c:v>
                </c:pt>
                <c:pt idx="1">
                  <c:v>7.3723027864980917E-2</c:v>
                </c:pt>
                <c:pt idx="2">
                  <c:v>0.12766201692065168</c:v>
                </c:pt>
                <c:pt idx="3">
                  <c:v>0.23425237068395854</c:v>
                </c:pt>
                <c:pt idx="4">
                  <c:v>0.38278733061914982</c:v>
                </c:pt>
                <c:pt idx="5">
                  <c:v>0.15359411735454917</c:v>
                </c:pt>
                <c:pt idx="6">
                  <c:v>8.6017315089557554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0484645492150674E-8</c:v>
                </c:pt>
                <c:pt idx="1">
                  <c:v>6.490751229639497E-3</c:v>
                </c:pt>
                <c:pt idx="2">
                  <c:v>3.8404209097581761E-3</c:v>
                </c:pt>
                <c:pt idx="3">
                  <c:v>2.5127442394987094E-3</c:v>
                </c:pt>
                <c:pt idx="4">
                  <c:v>5.3790980184955347E-3</c:v>
                </c:pt>
                <c:pt idx="5">
                  <c:v>9.3877838811946889E-4</c:v>
                </c:pt>
                <c:pt idx="6">
                  <c:v>6.279579716990699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354793958657659E-2</c:v>
                </c:pt>
                <c:pt idx="1">
                  <c:v>4.280378181887369E-2</c:v>
                </c:pt>
                <c:pt idx="2">
                  <c:v>6.2074046562050726E-2</c:v>
                </c:pt>
                <c:pt idx="3">
                  <c:v>8.9270192178144317E-2</c:v>
                </c:pt>
                <c:pt idx="4">
                  <c:v>0.17577539408158835</c:v>
                </c:pt>
                <c:pt idx="5">
                  <c:v>7.3056450349395161E-2</c:v>
                </c:pt>
                <c:pt idx="6">
                  <c:v>7.54898608072308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7.3978607016716839E-4</c:v>
                </c:pt>
                <c:pt idx="1">
                  <c:v>3.4062515141631768E-3</c:v>
                </c:pt>
                <c:pt idx="2">
                  <c:v>1.1114459155546159E-2</c:v>
                </c:pt>
                <c:pt idx="3">
                  <c:v>1.7810267475437347E-2</c:v>
                </c:pt>
                <c:pt idx="4">
                  <c:v>2.0645914855655825E-2</c:v>
                </c:pt>
                <c:pt idx="5">
                  <c:v>3.059524044168909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2.334197728886322E-6</c:v>
                </c:pt>
                <c:pt idx="1">
                  <c:v>3.4884981873106265E-5</c:v>
                </c:pt>
                <c:pt idx="2">
                  <c:v>3.4840141146249642E-3</c:v>
                </c:pt>
                <c:pt idx="3">
                  <c:v>5.09993738563149E-3</c:v>
                </c:pt>
                <c:pt idx="4">
                  <c:v>1.6994494245997117E-2</c:v>
                </c:pt>
                <c:pt idx="5">
                  <c:v>1.754244455815245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83087306669602E-2</c:v>
                </c:pt>
                <c:pt idx="1">
                  <c:v>2.098735832043145E-2</c:v>
                </c:pt>
                <c:pt idx="2">
                  <c:v>4.7149076178671659E-2</c:v>
                </c:pt>
                <c:pt idx="3">
                  <c:v>0.1195592294052467</c:v>
                </c:pt>
                <c:pt idx="4">
                  <c:v>0.16399242941741304</c:v>
                </c:pt>
                <c:pt idx="5">
                  <c:v>7.4785120117050435E-2</c:v>
                </c:pt>
                <c:pt idx="6">
                  <c:v>9.899496310627614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41199999999999998</c:v>
                </c:pt>
                <c:pt idx="2">
                  <c:v>0.20349999999999999</c:v>
                </c:pt>
                <c:pt idx="3">
                  <c:v>2.69E-2</c:v>
                </c:pt>
                <c:pt idx="4">
                  <c:v>0.30330000000000001</c:v>
                </c:pt>
                <c:pt idx="5">
                  <c:v>5.34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899443980434349E-2</c:v>
                </c:pt>
                <c:pt idx="1">
                  <c:v>6.9936221072548613E-2</c:v>
                </c:pt>
                <c:pt idx="2">
                  <c:v>0.12263839292931009</c:v>
                </c:pt>
                <c:pt idx="3">
                  <c:v>0.22587718069519325</c:v>
                </c:pt>
                <c:pt idx="4">
                  <c:v>0.3926880605000298</c:v>
                </c:pt>
                <c:pt idx="5">
                  <c:v>0.159579798639448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6.5331489466373249E-8</c:v>
                </c:pt>
                <c:pt idx="1">
                  <c:v>1.0812154895849335E-2</c:v>
                </c:pt>
                <c:pt idx="2">
                  <c:v>5.3404629914445435E-3</c:v>
                </c:pt>
                <c:pt idx="3">
                  <c:v>7.061419370462419E-4</c:v>
                </c:pt>
                <c:pt idx="4">
                  <c:v>7.9589139735811946E-3</c:v>
                </c:pt>
                <c:pt idx="5">
                  <c:v>1.40489488263383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2640676305699122E-2</c:v>
                </c:pt>
                <c:pt idx="1">
                  <c:v>3.5981016482109905E-2</c:v>
                </c:pt>
                <c:pt idx="2">
                  <c:v>5.2318919373392128E-2</c:v>
                </c:pt>
                <c:pt idx="3">
                  <c:v>7.6849290596592498E-2</c:v>
                </c:pt>
                <c:pt idx="4">
                  <c:v>0.16085003388928104</c:v>
                </c:pt>
                <c:pt idx="5">
                  <c:v>6.81700283535806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7.6728159481972904E-4</c:v>
                </c:pt>
                <c:pt idx="1">
                  <c:v>4.5360771938260059E-3</c:v>
                </c:pt>
                <c:pt idx="2">
                  <c:v>1.0256986681167318E-2</c:v>
                </c:pt>
                <c:pt idx="3">
                  <c:v>1.7827923888047128E-2</c:v>
                </c:pt>
                <c:pt idx="4">
                  <c:v>1.9047227525335747E-2</c:v>
                </c:pt>
                <c:pt idx="5">
                  <c:v>2.918574045021750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2.8901017652686869E-6</c:v>
                </c:pt>
                <c:pt idx="1">
                  <c:v>4.4294749858201065E-6</c:v>
                </c:pt>
                <c:pt idx="2">
                  <c:v>3.5931159572567262E-3</c:v>
                </c:pt>
                <c:pt idx="3">
                  <c:v>5.7723727348812101E-3</c:v>
                </c:pt>
                <c:pt idx="4">
                  <c:v>1.8595720784990021E-2</c:v>
                </c:pt>
                <c:pt idx="5">
                  <c:v>1.713885061926759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48853064666076E-2</c:v>
                </c:pt>
                <c:pt idx="1">
                  <c:v>1.8602543025777546E-2</c:v>
                </c:pt>
                <c:pt idx="2">
                  <c:v>5.1128907926049377E-2</c:v>
                </c:pt>
                <c:pt idx="3">
                  <c:v>0.1247214515386262</c:v>
                </c:pt>
                <c:pt idx="4">
                  <c:v>0.18623616432684181</c:v>
                </c:pt>
                <c:pt idx="5">
                  <c:v>8.537241629628511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439999999999998</c:v>
                </c:pt>
                <c:pt idx="2">
                  <c:v>0.21790000000000001</c:v>
                </c:pt>
                <c:pt idx="3">
                  <c:v>9.3799999999999994E-2</c:v>
                </c:pt>
                <c:pt idx="4">
                  <c:v>0.33350000000000002</c:v>
                </c:pt>
                <c:pt idx="5">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21926824658941E-2</c:v>
                </c:pt>
                <c:pt idx="1">
                  <c:v>8.8029163127424148E-2</c:v>
                </c:pt>
                <c:pt idx="2">
                  <c:v>0.14284168638962264</c:v>
                </c:pt>
                <c:pt idx="3">
                  <c:v>0.22197384656282371</c:v>
                </c:pt>
                <c:pt idx="4">
                  <c:v>0.36551887254863047</c:v>
                </c:pt>
                <c:pt idx="5">
                  <c:v>0.1485237048277909</c:v>
                </c:pt>
                <c:pt idx="6">
                  <c:v>3.890799719049167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5.3589932450977922E-3</c:v>
                </c:pt>
                <c:pt idx="2">
                  <c:v>3.4910204810488662E-3</c:v>
                </c:pt>
                <c:pt idx="3">
                  <c:v>1.5037313052086358E-3</c:v>
                </c:pt>
                <c:pt idx="4">
                  <c:v>5.3443772155150216E-3</c:v>
                </c:pt>
                <c:pt idx="5">
                  <c:v>3.258630156881760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4816311666600267E-2</c:v>
                </c:pt>
                <c:pt idx="1">
                  <c:v>5.4035216298964239E-2</c:v>
                </c:pt>
                <c:pt idx="2">
                  <c:v>7.0205327760858402E-2</c:v>
                </c:pt>
                <c:pt idx="3">
                  <c:v>7.2104068346901307E-2</c:v>
                </c:pt>
                <c:pt idx="4">
                  <c:v>0.16863271479348868</c:v>
                </c:pt>
                <c:pt idx="5">
                  <c:v>6.7880890340812239E-2</c:v>
                </c:pt>
                <c:pt idx="6">
                  <c:v>3.855744973526222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1.4394572867046614E-3</c:v>
                </c:pt>
                <c:pt idx="1">
                  <c:v>2.9372415954287061E-3</c:v>
                </c:pt>
                <c:pt idx="2">
                  <c:v>1.719561105266345E-2</c:v>
                </c:pt>
                <c:pt idx="3">
                  <c:v>2.0886969024342127E-2</c:v>
                </c:pt>
                <c:pt idx="4">
                  <c:v>2.8932117297572706E-2</c:v>
                </c:pt>
                <c:pt idx="5">
                  <c:v>4.99281183792981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1145440643191111E-3</c:v>
                </c:pt>
                <c:pt idx="3">
                  <c:v>4.9645025150797861E-3</c:v>
                </c:pt>
                <c:pt idx="4">
                  <c:v>1.5771672642236723E-2</c:v>
                </c:pt>
                <c:pt idx="5">
                  <c:v>1.892562727893538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966157871354014E-2</c:v>
                </c:pt>
                <c:pt idx="1">
                  <c:v>2.5697711987933421E-2</c:v>
                </c:pt>
                <c:pt idx="2">
                  <c:v>4.883518303073283E-2</c:v>
                </c:pt>
                <c:pt idx="3">
                  <c:v>0.12251457537129189</c:v>
                </c:pt>
                <c:pt idx="4">
                  <c:v>0.14683799059981736</c:v>
                </c:pt>
                <c:pt idx="5">
                  <c:v>7.3431576905467102E-2</c:v>
                </c:pt>
                <c:pt idx="6">
                  <c:v>3.5054745522945021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5260000000000002</c:v>
                </c:pt>
                <c:pt idx="2">
                  <c:v>0.20860000000000001</c:v>
                </c:pt>
                <c:pt idx="3">
                  <c:v>0.13139999999999999</c:v>
                </c:pt>
                <c:pt idx="4">
                  <c:v>0.25600000000000001</c:v>
                </c:pt>
                <c:pt idx="5">
                  <c:v>5.09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7894799189421E-3</c:v>
                </c:pt>
                <c:pt idx="1">
                  <c:v>3.8221977250803986E-2</c:v>
                </c:pt>
                <c:pt idx="2">
                  <c:v>0.12804261363486491</c:v>
                </c:pt>
                <c:pt idx="3">
                  <c:v>0.2579541169363222</c:v>
                </c:pt>
                <c:pt idx="4">
                  <c:v>0.41149259607783301</c:v>
                </c:pt>
                <c:pt idx="5">
                  <c:v>0.15866418882005121</c:v>
                </c:pt>
                <c:pt idx="6">
                  <c:v>7.666124809351970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7894799189421E-3</c:v>
                </c:pt>
                <c:pt idx="1">
                  <c:v>3.8221977250803986E-2</c:v>
                </c:pt>
                <c:pt idx="2">
                  <c:v>0.12804261363486491</c:v>
                </c:pt>
                <c:pt idx="3">
                  <c:v>0.2579541169363222</c:v>
                </c:pt>
                <c:pt idx="4">
                  <c:v>0.41149259607783301</c:v>
                </c:pt>
                <c:pt idx="5">
                  <c:v>0.15866418882005121</c:v>
                </c:pt>
                <c:pt idx="6">
                  <c:v>7.666124809351970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8028025313964308E-8</c:v>
                </c:pt>
                <c:pt idx="1">
                  <c:v>1.1371567498881352E-2</c:v>
                </c:pt>
                <c:pt idx="2">
                  <c:v>6.7282821439847403E-3</c:v>
                </c:pt>
                <c:pt idx="3">
                  <c:v>4.2387919030290929E-3</c:v>
                </c:pt>
                <c:pt idx="4">
                  <c:v>8.2575413909866946E-3</c:v>
                </c:pt>
                <c:pt idx="5">
                  <c:v>1.6447066648068865E-3</c:v>
                </c:pt>
                <c:pt idx="6">
                  <c:v>1.100160244784671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7625222054821565E-4</c:v>
                </c:pt>
                <c:pt idx="1">
                  <c:v>1.708817635472995E-2</c:v>
                </c:pt>
                <c:pt idx="2">
                  <c:v>5.4487747315806127E-2</c:v>
                </c:pt>
                <c:pt idx="3">
                  <c:v>8.3986286494886847E-2</c:v>
                </c:pt>
                <c:pt idx="4">
                  <c:v>0.1623279836162009</c:v>
                </c:pt>
                <c:pt idx="5">
                  <c:v>7.7951035897218995E-2</c:v>
                </c:pt>
                <c:pt idx="6">
                  <c:v>6.935730631272527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0894321921563793E-6</c:v>
                </c:pt>
                <c:pt idx="1">
                  <c:v>6.1117259317503253E-5</c:v>
                </c:pt>
                <c:pt idx="2">
                  <c:v>6.1038699943694492E-3</c:v>
                </c:pt>
                <c:pt idx="3">
                  <c:v>8.934910639611441E-3</c:v>
                </c:pt>
                <c:pt idx="4">
                  <c:v>2.8521427643624298E-2</c:v>
                </c:pt>
                <c:pt idx="5">
                  <c:v>1.611024229061857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0995381943063728E-3</c:v>
                </c:pt>
                <c:pt idx="2">
                  <c:v>1.0335765050964368E-2</c:v>
                </c:pt>
                <c:pt idx="3">
                  <c:v>2.2876840523554667E-2</c:v>
                </c:pt>
                <c:pt idx="4">
                  <c:v>1.4996881925699021E-2</c:v>
                </c:pt>
                <c:pt idx="5">
                  <c:v>1.735080479654840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5775351184237359E-3</c:v>
                </c:pt>
                <c:pt idx="1">
                  <c:v>7.6015779435688012E-3</c:v>
                </c:pt>
                <c:pt idx="2">
                  <c:v>5.038694912974024E-2</c:v>
                </c:pt>
                <c:pt idx="3">
                  <c:v>0.13791728737524017</c:v>
                </c:pt>
                <c:pt idx="4">
                  <c:v>0.19738876150132215</c:v>
                </c:pt>
                <c:pt idx="5">
                  <c:v>7.5722341549308639E-2</c:v>
                </c:pt>
                <c:pt idx="6">
                  <c:v>6.203781536009755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4345</c:v>
                </c:pt>
                <c:pt idx="2">
                  <c:v>0.21460000000000001</c:v>
                </c:pt>
                <c:pt idx="3">
                  <c:v>2.6700000000000002E-2</c:v>
                </c:pt>
                <c:pt idx="4">
                  <c:v>0.26690000000000003</c:v>
                </c:pt>
                <c:pt idx="5">
                  <c:v>5.65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34E-3</c:v>
                </c:pt>
                <c:pt idx="1">
                  <c:v>4.0453124052177082E-2</c:v>
                </c:pt>
                <c:pt idx="2">
                  <c:v>0.12468065232928348</c:v>
                </c:pt>
                <c:pt idx="3">
                  <c:v>0.24066929757465191</c:v>
                </c:pt>
                <c:pt idx="4">
                  <c:v>0.4235016609865862</c:v>
                </c:pt>
                <c:pt idx="5">
                  <c:v>0.166092079765411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0600378682627869E-7</c:v>
                </c:pt>
                <c:pt idx="1">
                  <c:v>1.7543291482773286E-2</c:v>
                </c:pt>
                <c:pt idx="2">
                  <c:v>8.6651828256586721E-3</c:v>
                </c:pt>
                <c:pt idx="3">
                  <c:v>1.0766128853804109E-3</c:v>
                </c:pt>
                <c:pt idx="4">
                  <c:v>1.0776193913363263E-2</c:v>
                </c:pt>
                <c:pt idx="5">
                  <c:v>2.279516032290979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340444332363107E-6</c:v>
                </c:pt>
                <c:pt idx="1">
                  <c:v>1.1515417946032995E-2</c:v>
                </c:pt>
                <c:pt idx="2">
                  <c:v>4.464303768055658E-2</c:v>
                </c:pt>
                <c:pt idx="3">
                  <c:v>6.8097682012543376E-2</c:v>
                </c:pt>
                <c:pt idx="4">
                  <c:v>0.15450111822069676</c:v>
                </c:pt>
                <c:pt idx="5">
                  <c:v>7.01548100503568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6893425197275038E-6</c:v>
                </c:pt>
                <c:pt idx="1">
                  <c:v>7.1870567468216954E-6</c:v>
                </c:pt>
                <c:pt idx="2">
                  <c:v>5.8300201187237114E-3</c:v>
                </c:pt>
                <c:pt idx="3">
                  <c:v>9.365979160556542E-3</c:v>
                </c:pt>
                <c:pt idx="4">
                  <c:v>2.8995553697662518E-2</c:v>
                </c:pt>
                <c:pt idx="5">
                  <c:v>1.3883103953064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930487407266894E-3</c:v>
                </c:pt>
                <c:pt idx="2">
                  <c:v>6.7667782330022063E-3</c:v>
                </c:pt>
                <c:pt idx="3">
                  <c:v>6.7024789860080569E-3</c:v>
                </c:pt>
                <c:pt idx="4">
                  <c:v>2.52568120617256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3652809931155577E-3</c:v>
                </c:pt>
                <c:pt idx="1">
                  <c:v>9.094178825897286E-3</c:v>
                </c:pt>
                <c:pt idx="2">
                  <c:v>5.8775633471342313E-2</c:v>
                </c:pt>
                <c:pt idx="3">
                  <c:v>0.15542654453016352</c:v>
                </c:pt>
                <c:pt idx="4">
                  <c:v>0.20397198309313802</c:v>
                </c:pt>
                <c:pt idx="5">
                  <c:v>9.22694432874572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450000000000002</c:v>
                </c:pt>
                <c:pt idx="2">
                  <c:v>0.21790000000000001</c:v>
                </c:pt>
                <c:pt idx="3">
                  <c:v>9.3799999999999994E-2</c:v>
                </c:pt>
                <c:pt idx="4">
                  <c:v>0.33350000000000002</c:v>
                </c:pt>
                <c:pt idx="5">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3239934574478192E-3</c:v>
                </c:pt>
                <c:pt idx="1">
                  <c:v>3.6253296017058956E-2</c:v>
                </c:pt>
                <c:pt idx="2">
                  <c:v>0.1376689147191372</c:v>
                </c:pt>
                <c:pt idx="3">
                  <c:v>0.2654072694888866</c:v>
                </c:pt>
                <c:pt idx="4">
                  <c:v>0.40285776763256737</c:v>
                </c:pt>
                <c:pt idx="5">
                  <c:v>0.14524955520144489</c:v>
                </c:pt>
                <c:pt idx="6">
                  <c:v>5.239203483457179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1.3167420955609284E-2</c:v>
                </c:pt>
                <c:pt idx="2">
                  <c:v>8.5776813174141646E-3</c:v>
                </c:pt>
                <c:pt idx="3">
                  <c:v>3.6944762042968125E-3</c:v>
                </c:pt>
                <c:pt idx="4">
                  <c:v>1.312996370238396E-2</c:v>
                </c:pt>
                <c:pt idx="5">
                  <c:v>8.006682048639579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82107038231495E-2</c:v>
                </c:pt>
                <c:pt idx="2">
                  <c:v>4.6280280336778355E-2</c:v>
                </c:pt>
                <c:pt idx="3">
                  <c:v>6.1427626316549098E-2</c:v>
                </c:pt>
                <c:pt idx="4">
                  <c:v>0.13401880740884536</c:v>
                </c:pt>
                <c:pt idx="5">
                  <c:v>6.8751946157033741E-2</c:v>
                </c:pt>
                <c:pt idx="6">
                  <c:v>5.19044499941157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6526524487036569E-3</c:v>
                </c:pt>
                <c:pt idx="3">
                  <c:v>1.2198129660087619E-2</c:v>
                </c:pt>
                <c:pt idx="4">
                  <c:v>3.6430169442556434E-2</c:v>
                </c:pt>
                <c:pt idx="5">
                  <c:v>1.5206622026275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2867679396693626E-3</c:v>
                </c:pt>
                <c:pt idx="2">
                  <c:v>1.4570445635875952E-2</c:v>
                </c:pt>
                <c:pt idx="3">
                  <c:v>2.844744076716434E-2</c:v>
                </c:pt>
                <c:pt idx="4">
                  <c:v>2.0204394566771051E-2</c:v>
                </c:pt>
                <c:pt idx="5">
                  <c:v>2.045020113686262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3239934574478192E-3</c:v>
                </c:pt>
                <c:pt idx="1">
                  <c:v>3.9780367394653673E-3</c:v>
                </c:pt>
                <c:pt idx="2">
                  <c:v>6.058785498036507E-2</c:v>
                </c:pt>
                <c:pt idx="3">
                  <c:v>0.15963959654078871</c:v>
                </c:pt>
                <c:pt idx="4">
                  <c:v>0.19907443251201054</c:v>
                </c:pt>
                <c:pt idx="5">
                  <c:v>7.2131258523233377E-2</c:v>
                </c:pt>
                <c:pt idx="6">
                  <c:v>4.875848404560214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5469255993853</c:v>
                </c:pt>
                <c:pt idx="4">
                  <c:v>2.5019581296125446E-2</c:v>
                </c:pt>
                <c:pt idx="5">
                  <c:v>0.47511897357370908</c:v>
                </c:pt>
                <c:pt idx="6">
                  <c:v>2.154188326871531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3858925351200314E-3</c:v>
                </c:pt>
                <c:pt idx="3">
                  <c:v>2.9915191407270925E-3</c:v>
                </c:pt>
                <c:pt idx="4">
                  <c:v>1.1052584802033345E-2</c:v>
                </c:pt>
                <c:pt idx="5">
                  <c:v>5.491816957508145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7625222054821565E-4</c:v>
                </c:pt>
                <c:pt idx="1">
                  <c:v>1.708817635472995E-2</c:v>
                </c:pt>
                <c:pt idx="2">
                  <c:v>5.4487747315806127E-2</c:v>
                </c:pt>
                <c:pt idx="3">
                  <c:v>8.3986286494886847E-2</c:v>
                </c:pt>
                <c:pt idx="4">
                  <c:v>0.1623279836162009</c:v>
                </c:pt>
                <c:pt idx="5">
                  <c:v>7.7951035897218995E-2</c:v>
                </c:pt>
                <c:pt idx="6">
                  <c:v>6.935730631272527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0894321921563793E-6</c:v>
                </c:pt>
                <c:pt idx="1">
                  <c:v>6.1117259317503253E-5</c:v>
                </c:pt>
                <c:pt idx="2">
                  <c:v>6.1038699943694492E-3</c:v>
                </c:pt>
                <c:pt idx="3">
                  <c:v>8.934910639611441E-3</c:v>
                </c:pt>
                <c:pt idx="4">
                  <c:v>2.8521427643624298E-2</c:v>
                </c:pt>
                <c:pt idx="5">
                  <c:v>1.611024229061857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0995381943063728E-3</c:v>
                </c:pt>
                <c:pt idx="2">
                  <c:v>1.0335765050964368E-2</c:v>
                </c:pt>
                <c:pt idx="3">
                  <c:v>2.2876840523554667E-2</c:v>
                </c:pt>
                <c:pt idx="4">
                  <c:v>1.4996881925699021E-2</c:v>
                </c:pt>
                <c:pt idx="5">
                  <c:v>1.735080479654840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5775531464490498E-3</c:v>
                </c:pt>
                <c:pt idx="1">
                  <c:v>1.8973145442450153E-2</c:v>
                </c:pt>
                <c:pt idx="2">
                  <c:v>5.0729338738604954E-2</c:v>
                </c:pt>
                <c:pt idx="3">
                  <c:v>0.13916456013754216</c:v>
                </c:pt>
                <c:pt idx="4">
                  <c:v>0.19459371809027548</c:v>
                </c:pt>
                <c:pt idx="5">
                  <c:v>7.1875231256607372E-2</c:v>
                </c:pt>
                <c:pt idx="6">
                  <c:v>7.303941780794427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705592330794557</c:v>
                </c:pt>
                <c:pt idx="5">
                  <c:v>0.106738456639838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5152003024068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71734443266597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2.9876925199294463E-4</c:v>
                </c:pt>
                <c:pt idx="4">
                  <c:v>2.5019581296125446E-2</c:v>
                </c:pt>
                <c:pt idx="5">
                  <c:v>0.13605506958314223</c:v>
                </c:pt>
                <c:pt idx="6">
                  <c:v>2.15418832687153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694361812845544</c:v>
                </c:pt>
                <c:pt idx="5">
                  <c:v>0.12455267116511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9.51882130535129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6130149470014202E-4</c:v>
                </c:pt>
                <c:pt idx="4">
                  <c:v>1.9066378237682906E-2</c:v>
                </c:pt>
                <c:pt idx="5">
                  <c:v>0.11847995466248612</c:v>
                </c:pt>
                <c:pt idx="6">
                  <c:v>7.455741430267974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3014811570907</c:v>
                </c:pt>
                <c:pt idx="4">
                  <c:v>3.1886401699219143E-2</c:v>
                </c:pt>
                <c:pt idx="5">
                  <c:v>0.452583450185071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51552710585296213</c:v>
                </c:pt>
                <c:pt idx="5">
                  <c:v>9.479040304578757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240659663272917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121405586234327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3.0422627469104379E-6</c:v>
                </c:pt>
                <c:pt idx="4">
                  <c:v>3.1886401699219143E-2</c:v>
                </c:pt>
                <c:pt idx="5">
                  <c:v>0.1215865221885597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29</c:v>
                </c:pt>
                <c:pt idx="4">
                  <c:v>0.877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177561024199167E-3</c:v>
                </c:pt>
                <c:pt idx="1">
                  <c:v>3.2027653167575096E-2</c:v>
                </c:pt>
                <c:pt idx="2">
                  <c:v>2.3524044420734705E-3</c:v>
                </c:pt>
                <c:pt idx="3">
                  <c:v>0.38242026159328435</c:v>
                </c:pt>
                <c:pt idx="4">
                  <c:v>0.56747496286225174</c:v>
                </c:pt>
                <c:pt idx="5">
                  <c:v>1.44069618323955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195949308392695E-6</c:v>
                </c:pt>
                <c:pt idx="3">
                  <c:v>5.1722718580729009E-3</c:v>
                </c:pt>
                <c:pt idx="4">
                  <c:v>3.691210355428745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0625455076117907E-6</c:v>
                </c:pt>
                <c:pt idx="2">
                  <c:v>1.1891880959988901E-3</c:v>
                </c:pt>
                <c:pt idx="3">
                  <c:v>0.23738123807631398</c:v>
                </c:pt>
                <c:pt idx="4">
                  <c:v>0.3111692615882069</c:v>
                </c:pt>
                <c:pt idx="5">
                  <c:v>1.13116883257654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1.6045150282728384E-6</c:v>
                </c:pt>
                <c:pt idx="3">
                  <c:v>8.9261738246863231E-2</c:v>
                </c:pt>
                <c:pt idx="4">
                  <c:v>0.1546508387035381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1725618402911664E-2</c:v>
                </c:pt>
                <c:pt idx="3">
                  <c:v>2.8341012470946867E-2</c:v>
                </c:pt>
                <c:pt idx="4">
                  <c:v>8.2173775281523219E-3</c:v>
                </c:pt>
                <c:pt idx="5">
                  <c:v>2.848449177036397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3139694469531929E-3</c:v>
                </c:pt>
                <c:pt idx="1">
                  <c:v>1.0302034764663428E-2</c:v>
                </c:pt>
                <c:pt idx="2">
                  <c:v>1.1632163460745804E-3</c:v>
                </c:pt>
                <c:pt idx="3">
                  <c:v>2.2264000941087287E-2</c:v>
                </c:pt>
                <c:pt idx="4">
                  <c:v>5.6525381488066885E-2</c:v>
                </c:pt>
                <c:pt idx="5">
                  <c:v>1.04273438227825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2890000000000003</c:v>
                </c:pt>
                <c:pt idx="3">
                  <c:v>8.0799999999999997E-2</c:v>
                </c:pt>
                <c:pt idx="4">
                  <c:v>0.33789999999999998</c:v>
                </c:pt>
                <c:pt idx="5">
                  <c:v>0.252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1300000000000001E-2</c:v>
                </c:pt>
                <c:pt idx="4">
                  <c:v>0.9687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338356994032058E-4</c:v>
                </c:pt>
                <c:pt idx="1">
                  <c:v>1.9618191826917E-2</c:v>
                </c:pt>
                <c:pt idx="2">
                  <c:v>7.402755160323117E-4</c:v>
                </c:pt>
                <c:pt idx="3">
                  <c:v>0.32972950609608248</c:v>
                </c:pt>
                <c:pt idx="4">
                  <c:v>0.6455594961322717</c:v>
                </c:pt>
                <c:pt idx="5">
                  <c:v>3.63914685875637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9982796049871918E-3</c:v>
                </c:pt>
                <c:pt idx="4">
                  <c:v>9.26966531019400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3728694740785775</c:v>
                </c:pt>
                <c:pt idx="4">
                  <c:v>0.273528499142100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1.2928820236534203E-5</c:v>
                </c:pt>
                <c:pt idx="3">
                  <c:v>5.3712525096276616E-2</c:v>
                </c:pt>
                <c:pt idx="4">
                  <c:v>0.2029274871315142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2877219878434614E-2</c:v>
                </c:pt>
                <c:pt idx="3">
                  <c:v>2.4612738737848347E-2</c:v>
                </c:pt>
                <c:pt idx="4">
                  <c:v>8.2260624329856154E-3</c:v>
                </c:pt>
                <c:pt idx="5">
                  <c:v>1.757112862279908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0045474970378634E-4</c:v>
                </c:pt>
                <c:pt idx="1">
                  <c:v>6.7409719484823865E-3</c:v>
                </c:pt>
                <c:pt idx="2">
                  <c:v>7.402755160323117E-4</c:v>
                </c:pt>
                <c:pt idx="3">
                  <c:v>1.1119015249112508E-2</c:v>
                </c:pt>
                <c:pt idx="4">
                  <c:v>6.8180794323730767E-2</c:v>
                </c:pt>
                <c:pt idx="5">
                  <c:v>1.88203399647646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6109999999999999</c:v>
                </c:pt>
                <c:pt idx="4">
                  <c:v>0.8388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8965406986938915E-3</c:v>
                </c:pt>
                <c:pt idx="1">
                  <c:v>4.8952596641094387E-2</c:v>
                </c:pt>
                <c:pt idx="2">
                  <c:v>2.2539736883549011E-3</c:v>
                </c:pt>
                <c:pt idx="3">
                  <c:v>0.47501720035688511</c:v>
                </c:pt>
                <c:pt idx="4">
                  <c:v>0.45597700238592082</c:v>
                </c:pt>
                <c:pt idx="5">
                  <c:v>1.59026862290508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4.8509985823384675E-6</c:v>
                </c:pt>
                <c:pt idx="4">
                  <c:v>2.52537279139384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5629209471854381</c:v>
                </c:pt>
                <c:pt idx="4">
                  <c:v>0.203371980478097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0.16547609369401287</c:v>
                </c:pt>
                <c:pt idx="4">
                  <c:v>0.1990426354550754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3678656898886154E-2</c:v>
                </c:pt>
                <c:pt idx="3">
                  <c:v>2.4418328887488249E-2</c:v>
                </c:pt>
                <c:pt idx="4">
                  <c:v>9.6012105353074084E-3</c:v>
                </c:pt>
                <c:pt idx="5">
                  <c:v>4.12643060585177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8965406986938915E-3</c:v>
                </c:pt>
                <c:pt idx="1">
                  <c:v>1.5273939742208233E-2</c:v>
                </c:pt>
                <c:pt idx="2">
                  <c:v>2.2539736883549011E-3</c:v>
                </c:pt>
                <c:pt idx="3">
                  <c:v>2.8825832058257866E-2</c:v>
                </c:pt>
                <c:pt idx="4">
                  <c:v>4.3935922189526175E-2</c:v>
                </c:pt>
                <c:pt idx="5">
                  <c:v>1.17762556231990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5260000000000002</c:v>
                </c:pt>
                <c:pt idx="2">
                  <c:v>0.20860000000000001</c:v>
                </c:pt>
                <c:pt idx="3">
                  <c:v>0.13139999999999999</c:v>
                </c:pt>
                <c:pt idx="4">
                  <c:v>0.25600000000000001</c:v>
                </c:pt>
                <c:pt idx="5">
                  <c:v>5.09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9.318942391174119E-2</c:v>
                </c:pt>
                <c:pt idx="2">
                  <c:v>5.5137933884248834E-2</c:v>
                </c:pt>
                <c:pt idx="3">
                  <c:v>3.4736686526628133E-2</c:v>
                </c:pt>
                <c:pt idx="4">
                  <c:v>6.7670136525075128E-2</c:v>
                </c:pt>
                <c:pt idx="5">
                  <c:v>1.347828842525293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5.4008489523505575E-3</c:v>
                </c:pt>
                <c:pt idx="2">
                  <c:v>3.50331077300279E-2</c:v>
                </c:pt>
                <c:pt idx="3">
                  <c:v>8.9897595634951935E-2</c:v>
                </c:pt>
                <c:pt idx="4">
                  <c:v>4.4531214209419481E-2</c:v>
                </c:pt>
                <c:pt idx="5">
                  <c:v>7.18236548190515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332068254325133E-2</c:v>
                </c:pt>
                <c:pt idx="3">
                  <c:v>2.4515348950153868E-2</c:v>
                </c:pt>
                <c:pt idx="4">
                  <c:v>8.5179748515055095E-2</c:v>
                </c:pt>
                <c:pt idx="5">
                  <c:v>3.9611925288855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9.2319754154723752E-3</c:v>
                </c:pt>
                <c:pt idx="2">
                  <c:v>8.4636514937475538E-2</c:v>
                </c:pt>
                <c:pt idx="3">
                  <c:v>3.6302405295432915E-3</c:v>
                </c:pt>
                <c:pt idx="4">
                  <c:v>7.7622155573860915E-2</c:v>
                </c:pt>
                <c:pt idx="5">
                  <c:v>1.01307663290237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3.2379405637028937E-3</c:v>
                </c:pt>
                <c:pt idx="3">
                  <c:v>5.3555300874040423E-8</c:v>
                </c:pt>
                <c:pt idx="4">
                  <c:v>6.056982090355767E-2</c:v>
                </c:pt>
                <c:pt idx="5">
                  <c:v>3.804826378229832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4345</c:v>
                </c:pt>
                <c:pt idx="2">
                  <c:v>0.21460000000000001</c:v>
                </c:pt>
                <c:pt idx="3">
                  <c:v>2.6700000000000002E-2</c:v>
                </c:pt>
                <c:pt idx="4">
                  <c:v>0.26690000000000003</c:v>
                </c:pt>
                <c:pt idx="5">
                  <c:v>5.6500000000000002E-2</c:v>
                </c:pt>
                <c:pt idx="6">
                  <c:v>8.0000000000000004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34E-3</c:v>
                </c:pt>
                <c:pt idx="1">
                  <c:v>4.0453124052177082E-2</c:v>
                </c:pt>
                <c:pt idx="2">
                  <c:v>0.12468065232928348</c:v>
                </c:pt>
                <c:pt idx="3">
                  <c:v>0.24066929757465191</c:v>
                </c:pt>
                <c:pt idx="4">
                  <c:v>0.4235016609865862</c:v>
                </c:pt>
                <c:pt idx="5">
                  <c:v>0.166092079765411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599</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0.13883172631490734</c:v>
                </c:pt>
                <c:pt idx="2">
                  <c:v>6.85733513406976E-2</c:v>
                </c:pt>
                <c:pt idx="3">
                  <c:v>8.5199533734594043E-3</c:v>
                </c:pt>
                <c:pt idx="4">
                  <c:v>8.5279185241007888E-2</c:v>
                </c:pt>
                <c:pt idx="5">
                  <c:v>1.8039325530002339E-2</c:v>
                </c:pt>
                <c:pt idx="6">
                  <c:v>2.465358830036394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0467504009943729E-2</c:v>
                </c:pt>
                <c:pt idx="2">
                  <c:v>4.2645548657318455E-2</c:v>
                </c:pt>
                <c:pt idx="3">
                  <c:v>9.0446099607501371E-2</c:v>
                </c:pt>
                <c:pt idx="4">
                  <c:v>8.6482493425185485E-3</c:v>
                </c:pt>
                <c:pt idx="5">
                  <c:v>8.448408578421103E-2</c:v>
                </c:pt>
                <c:pt idx="6">
                  <c:v>4.3540936029773809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8700417513986307E-2</c:v>
                </c:pt>
                <c:pt idx="3">
                  <c:v>1.932140439824797E-2</c:v>
                </c:pt>
                <c:pt idx="4">
                  <c:v>7.1782763875395186E-2</c:v>
                </c:pt>
                <c:pt idx="5">
                  <c:v>5.28471806365719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409342891010774E-7</c:v>
                </c:pt>
                <c:pt idx="4">
                  <c:v>4.4998990619535627E-2</c:v>
                </c:pt>
                <c:pt idx="5">
                  <c:v>4.196046810590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2.1142735289773985E-2</c:v>
                </c:pt>
                <c:pt idx="2">
                  <c:v>2.7218375195673633E-2</c:v>
                </c:pt>
                <c:pt idx="3">
                  <c:v>9.3865043000698322E-3</c:v>
                </c:pt>
                <c:pt idx="4">
                  <c:v>5.5698171878387624E-2</c:v>
                </c:pt>
                <c:pt idx="5">
                  <c:v>2.032478688188763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450000000000002</c:v>
                </c:pt>
                <c:pt idx="2">
                  <c:v>0.21790000000000001</c:v>
                </c:pt>
                <c:pt idx="3">
                  <c:v>9.3799999999999994E-2</c:v>
                </c:pt>
                <c:pt idx="4">
                  <c:v>0.33350000000000002</c:v>
                </c:pt>
                <c:pt idx="5">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9.9025390559011175E-2</c:v>
                </c:pt>
                <c:pt idx="2">
                  <c:v>6.450832288352E-2</c:v>
                </c:pt>
                <c:pt idx="3">
                  <c:v>2.7784252533189901E-2</c:v>
                </c:pt>
                <c:pt idx="4">
                  <c:v>9.8743693851477465E-2</c:v>
                </c:pt>
                <c:pt idx="5">
                  <c:v>6.021413150086919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2.8448886650238012E-2</c:v>
                </c:pt>
                <c:pt idx="3">
                  <c:v>0.13057577620431085</c:v>
                </c:pt>
                <c:pt idx="4">
                  <c:v>1.214868734794698E-2</c:v>
                </c:pt>
                <c:pt idx="5">
                  <c:v>8.197395190802823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604146335066902E-2</c:v>
                </c:pt>
                <c:pt idx="3">
                  <c:v>3.3856581368870375E-2</c:v>
                </c:pt>
                <c:pt idx="4">
                  <c:v>8.5025244020544052E-2</c:v>
                </c:pt>
                <c:pt idx="5">
                  <c:v>4.373994730233104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4.9450471560104646E-2</c:v>
                </c:pt>
                <c:pt idx="4">
                  <c:v>7.7421598704224021E-2</c:v>
                </c:pt>
                <c:pt idx="5">
                  <c:v>1.2176868832084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5.7323514538482452E-2</c:v>
                </c:pt>
                <c:pt idx="5">
                  <c:v>3.87943002889264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89228933701E-2</c:v>
                </c:pt>
                <c:pt idx="2">
                  <c:v>4.1137747582242541E-2</c:v>
                </c:pt>
                <c:pt idx="3">
                  <c:v>0.31355241604004941</c:v>
                </c:pt>
                <c:pt idx="4">
                  <c:v>0.55220862714204089</c:v>
                </c:pt>
                <c:pt idx="5">
                  <c:v>6.27713164279378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257453978876326E-2</c:v>
                </c:pt>
                <c:pt idx="2">
                  <c:v>4.111799119349209E-2</c:v>
                </c:pt>
                <c:pt idx="3">
                  <c:v>8.3972734280447783E-2</c:v>
                </c:pt>
                <c:pt idx="4">
                  <c:v>0.14385290781045273</c:v>
                </c:pt>
                <c:pt idx="5">
                  <c:v>3.530865388191278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830171229182353E-2</c:v>
                </c:pt>
                <c:pt idx="4">
                  <c:v>0.11193663458704405</c:v>
                </c:pt>
                <c:pt idx="5">
                  <c:v>8.182288310560101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3674745414843268E-2</c:v>
                </c:pt>
                <c:pt idx="3">
                  <c:v>4.2149006879102752E-2</c:v>
                </c:pt>
                <c:pt idx="4">
                  <c:v>7.74976358425015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3806928956174173E-3</c:v>
                </c:pt>
                <c:pt idx="2">
                  <c:v>1.9756388750451621E-5</c:v>
                </c:pt>
                <c:pt idx="3">
                  <c:v>9.8600503651316521E-2</c:v>
                </c:pt>
                <c:pt idx="4">
                  <c:v>0.21892144890204249</c:v>
                </c:pt>
                <c:pt idx="5">
                  <c:v>5.45886750308389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5</c:v>
                </c:pt>
                <c:pt idx="4">
                  <c:v>0.59387574108439223</c:v>
                </c:pt>
                <c:pt idx="5">
                  <c:v>5.89874561094732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9.9448764407935319E-3</c:v>
                </c:pt>
                <c:pt idx="3">
                  <c:v>2.4415242697922519E-3</c:v>
                </c:pt>
                <c:pt idx="4">
                  <c:v>1.0215575661117129E-2</c:v>
                </c:pt>
                <c:pt idx="5">
                  <c:v>7.630816424470539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340444332363107E-6</c:v>
                </c:pt>
                <c:pt idx="1">
                  <c:v>1.1515417946032995E-2</c:v>
                </c:pt>
                <c:pt idx="2">
                  <c:v>4.464303768055658E-2</c:v>
                </c:pt>
                <c:pt idx="3">
                  <c:v>6.8097682012543376E-2</c:v>
                </c:pt>
                <c:pt idx="4">
                  <c:v>0.15450111822069676</c:v>
                </c:pt>
                <c:pt idx="5">
                  <c:v>7.01548100503568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6893425197275038E-6</c:v>
                </c:pt>
                <c:pt idx="1">
                  <c:v>7.1870567468216954E-6</c:v>
                </c:pt>
                <c:pt idx="2">
                  <c:v>5.8300201187237114E-3</c:v>
                </c:pt>
                <c:pt idx="3">
                  <c:v>9.365979160556542E-3</c:v>
                </c:pt>
                <c:pt idx="4">
                  <c:v>2.8995553697662518E-2</c:v>
                </c:pt>
                <c:pt idx="5">
                  <c:v>1.3883103953064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930487407266894E-3</c:v>
                </c:pt>
                <c:pt idx="2">
                  <c:v>6.7667782330022063E-3</c:v>
                </c:pt>
                <c:pt idx="3">
                  <c:v>6.7024789860080569E-3</c:v>
                </c:pt>
                <c:pt idx="4">
                  <c:v>2.52568120617256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3653869969023842E-3</c:v>
                </c:pt>
                <c:pt idx="1">
                  <c:v>2.6637470308670572E-2</c:v>
                </c:pt>
                <c:pt idx="2">
                  <c:v>5.7495939856207448E-2</c:v>
                </c:pt>
                <c:pt idx="3">
                  <c:v>0.15406163314575166</c:v>
                </c:pt>
                <c:pt idx="4">
                  <c:v>0.20453260134538415</c:v>
                </c:pt>
                <c:pt idx="5">
                  <c:v>8.69181428952777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462823601955515E-2</c:v>
                </c:pt>
                <c:pt idx="2">
                  <c:v>4.5630734450636229E-2</c:v>
                </c:pt>
                <c:pt idx="3">
                  <c:v>4.5197142309156488E-2</c:v>
                </c:pt>
                <c:pt idx="4">
                  <c:v>0.170315450658253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6435649394388581E-2</c:v>
                </c:pt>
                <c:pt idx="3">
                  <c:v>3.6146301740761742E-2</c:v>
                </c:pt>
                <c:pt idx="4">
                  <c:v>9.117222358311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6.7287806813729936E-2</c:v>
                </c:pt>
                <c:pt idx="4">
                  <c:v>8.2581405637886227E-2</c:v>
                </c:pt>
                <c:pt idx="5">
                  <c:v>6.92473259129919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8.9681894677747162E-3</c:v>
                </c:pt>
                <c:pt idx="2">
                  <c:v>2.2874250549976061E-6</c:v>
                </c:pt>
                <c:pt idx="3">
                  <c:v>0.11199570821874057</c:v>
                </c:pt>
                <c:pt idx="4">
                  <c:v>0.2498066612051415</c:v>
                </c:pt>
                <c:pt idx="5">
                  <c:v>5.82949828503433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1325297527232E-2</c:v>
                </c:pt>
                <c:pt idx="2">
                  <c:v>6.8177130023839225E-2</c:v>
                </c:pt>
                <c:pt idx="3">
                  <c:v>0.30918181313914184</c:v>
                </c:pt>
                <c:pt idx="4">
                  <c:v>0.54895850601748686</c:v>
                </c:pt>
                <c:pt idx="5">
                  <c:v>5.88440231994877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5.7283511040786671E-3</c:v>
                </c:pt>
                <c:pt idx="2">
                  <c:v>6.8177130023839225E-2</c:v>
                </c:pt>
                <c:pt idx="3">
                  <c:v>9.3507570525918696E-2</c:v>
                </c:pt>
                <c:pt idx="4">
                  <c:v>0.1510187588802414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5.2611447523963163E-2</c:v>
                </c:pt>
                <c:pt idx="4">
                  <c:v>9.6436009581161525E-2</c:v>
                </c:pt>
                <c:pt idx="5">
                  <c:v>3.37577324345810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6414350186043658E-2</c:v>
                </c:pt>
                <c:pt idx="4">
                  <c:v>8.6260314605398097E-2</c:v>
                </c:pt>
                <c:pt idx="5">
                  <c:v>2.47616735014067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9.0029741934485649E-3</c:v>
                </c:pt>
                <c:pt idx="3">
                  <c:v>0.12664844490321636</c:v>
                </c:pt>
                <c:pt idx="4">
                  <c:v>0.21524342295068577</c:v>
                </c:pt>
                <c:pt idx="5">
                  <c:v>3.070657645462289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46000868461034E-3</c:v>
                </c:pt>
                <c:pt idx="1">
                  <c:v>7.9127851355647802E-3</c:v>
                </c:pt>
                <c:pt idx="2">
                  <c:v>9.8833451814382384E-2</c:v>
                </c:pt>
                <c:pt idx="3">
                  <c:v>0.1141714758048413</c:v>
                </c:pt>
                <c:pt idx="4">
                  <c:v>0.38273698753851865</c:v>
                </c:pt>
                <c:pt idx="5">
                  <c:v>0.393290699619846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1516675441133448E-3</c:v>
                </c:pt>
                <c:pt idx="1">
                  <c:v>5.9685044594350676E-3</c:v>
                </c:pt>
                <c:pt idx="2">
                  <c:v>6.6868987266284804E-2</c:v>
                </c:pt>
                <c:pt idx="3">
                  <c:v>4.5397089904368658E-2</c:v>
                </c:pt>
                <c:pt idx="4">
                  <c:v>0.24010154022907118</c:v>
                </c:pt>
                <c:pt idx="5">
                  <c:v>0.2528652822142621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4491714220894009E-2</c:v>
                </c:pt>
                <c:pt idx="3">
                  <c:v>1.6560017659860433E-2</c:v>
                </c:pt>
                <c:pt idx="4">
                  <c:v>3.3094145138892965E-2</c:v>
                </c:pt>
                <c:pt idx="5">
                  <c:v>4.68202193156547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384040264905088E-6</c:v>
                </c:pt>
                <c:pt idx="2">
                  <c:v>3.0806301073427253E-5</c:v>
                </c:pt>
                <c:pt idx="3">
                  <c:v>2.0306982843779693E-2</c:v>
                </c:pt>
                <c:pt idx="4">
                  <c:v>4.38007718979637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9029325427327589E-3</c:v>
                </c:pt>
                <c:pt idx="1">
                  <c:v>1.943242272103221E-3</c:v>
                </c:pt>
                <c:pt idx="2">
                  <c:v>7.4419440261301387E-3</c:v>
                </c:pt>
                <c:pt idx="3">
                  <c:v>3.1907385396832522E-2</c:v>
                </c:pt>
                <c:pt idx="4">
                  <c:v>6.5740530272590691E-2</c:v>
                </c:pt>
                <c:pt idx="5">
                  <c:v>9.360519808992996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4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7.4220041840183384E-4</c:v>
                </c:pt>
                <c:pt idx="2">
                  <c:v>6.1995792445291235E-2</c:v>
                </c:pt>
                <c:pt idx="3">
                  <c:v>3.2848087998600943E-2</c:v>
                </c:pt>
                <c:pt idx="4">
                  <c:v>0.29327202715026929</c:v>
                </c:pt>
                <c:pt idx="5">
                  <c:v>0.193072582539631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2.8323074475378015E-6</c:v>
                </c:pt>
                <c:pt idx="3">
                  <c:v>2.1861107551566051E-2</c:v>
                </c:pt>
                <c:pt idx="4">
                  <c:v>4.57410598137033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91222495276866E-2</c:v>
                </c:pt>
                <c:pt idx="3">
                  <c:v>1.3676815514038248E-2</c:v>
                </c:pt>
                <c:pt idx="4">
                  <c:v>2.1887732286704806E-2</c:v>
                </c:pt>
                <c:pt idx="5">
                  <c:v>4.4979926830942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26427056801026E-3</c:v>
                </c:pt>
                <c:pt idx="2">
                  <c:v>8.3330717890754934E-3</c:v>
                </c:pt>
                <c:pt idx="3">
                  <c:v>4.6281910346014643E-2</c:v>
                </c:pt>
                <c:pt idx="4">
                  <c:v>8.162191678381811E-2</c:v>
                </c:pt>
                <c:pt idx="5">
                  <c:v>0.1062657141459950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3300000000000001</c:v>
                </c:pt>
                <c:pt idx="3">
                  <c:v>0.15</c:v>
                </c:pt>
                <c:pt idx="4">
                  <c:v>0.39340000000000003</c:v>
                </c:pt>
                <c:pt idx="5">
                  <c:v>0.223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682222764157067E-3</c:v>
                </c:pt>
                <c:pt idx="1">
                  <c:v>7.8945305898618591E-4</c:v>
                </c:pt>
                <c:pt idx="2">
                  <c:v>9.0252103185351429E-2</c:v>
                </c:pt>
                <c:pt idx="3">
                  <c:v>0.1171313557101295</c:v>
                </c:pt>
                <c:pt idx="4">
                  <c:v>0.39028051997850438</c:v>
                </c:pt>
                <c:pt idx="5">
                  <c:v>0.40047834579061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4034689622338669E-2</c:v>
                </c:pt>
                <c:pt idx="3">
                  <c:v>4.6417954837924109E-2</c:v>
                </c:pt>
                <c:pt idx="4">
                  <c:v>0.22957245323304334</c:v>
                </c:pt>
                <c:pt idx="5">
                  <c:v>0.256970278131396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3.7425965099852465E-2</c:v>
                </c:pt>
                <c:pt idx="3">
                  <c:v>2.5716030958083742E-2</c:v>
                </c:pt>
                <c:pt idx="4">
                  <c:v>6.3358470524081029E-2</c:v>
                </c:pt>
                <c:pt idx="5">
                  <c:v>6.548908906732785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499612122524087E-2</c:v>
                </c:pt>
                <c:pt idx="4">
                  <c:v>5.529659623155293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682222764157067E-3</c:v>
                </c:pt>
                <c:pt idx="1">
                  <c:v>7.8945305898618591E-4</c:v>
                </c:pt>
                <c:pt idx="2">
                  <c:v>8.7914484631603004E-3</c:v>
                </c:pt>
                <c:pt idx="3">
                  <c:v>1.4497757791597572E-2</c:v>
                </c:pt>
                <c:pt idx="4">
                  <c:v>4.2052999989827082E-2</c:v>
                </c:pt>
                <c:pt idx="5">
                  <c:v>7.801897859188816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65385076760837E-2</c:v>
                </c:pt>
                <c:pt idx="1">
                  <c:v>6.769019309011845E-2</c:v>
                </c:pt>
                <c:pt idx="2">
                  <c:v>0.2155827171638198</c:v>
                </c:pt>
                <c:pt idx="3">
                  <c:v>0.48406983154121125</c:v>
                </c:pt>
                <c:pt idx="4">
                  <c:v>0.20698825809317256</c:v>
                </c:pt>
                <c:pt idx="5">
                  <c:v>1.05036150349171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9058219281063743E-6</c:v>
                </c:pt>
                <c:pt idx="1">
                  <c:v>5.3916062506433514E-2</c:v>
                </c:pt>
                <c:pt idx="2">
                  <c:v>8.8341671237807076E-2</c:v>
                </c:pt>
                <c:pt idx="3">
                  <c:v>0.15680298312130952</c:v>
                </c:pt>
                <c:pt idx="4">
                  <c:v>7.5012050250260628E-2</c:v>
                </c:pt>
                <c:pt idx="5">
                  <c:v>1.59868148342562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470653653372523E-2</c:v>
                </c:pt>
                <c:pt idx="4">
                  <c:v>6.9302417226503557E-2</c:v>
                </c:pt>
                <c:pt idx="5">
                  <c:v>3.042306869661903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4.5146415757424413E-4</c:v>
                </c:pt>
                <c:pt idx="2">
                  <c:v>7.2993842713101734E-2</c:v>
                </c:pt>
                <c:pt idx="3">
                  <c:v>3.2530170288126242E-2</c:v>
                </c:pt>
                <c:pt idx="4">
                  <c:v>1.62527038158477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62479254832733E-2</c:v>
                </c:pt>
                <c:pt idx="1">
                  <c:v>1.3322666426110685E-2</c:v>
                </c:pt>
                <c:pt idx="2">
                  <c:v>5.4247203212910995E-2</c:v>
                </c:pt>
                <c:pt idx="3">
                  <c:v>0.21003014159805025</c:v>
                </c:pt>
                <c:pt idx="4">
                  <c:v>4.6421086800560667E-2</c:v>
                </c:pt>
                <c:pt idx="5">
                  <c:v>5.862626681829573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1</c:v>
                </c:pt>
                <c:pt idx="5">
                  <c:v>1.38875553642803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3898806779292177E-6</c:v>
                </c:pt>
                <c:pt idx="1">
                  <c:v>3.3256611750207041E-2</c:v>
                </c:pt>
                <c:pt idx="2">
                  <c:v>6.6171918699067203E-2</c:v>
                </c:pt>
                <c:pt idx="3">
                  <c:v>0.14902085782732866</c:v>
                </c:pt>
                <c:pt idx="4">
                  <c:v>7.41689153756588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354382219192336E-2</c:v>
                </c:pt>
                <c:pt idx="4">
                  <c:v>7.8275086191821081E-2</c:v>
                </c:pt>
                <c:pt idx="5">
                  <c:v>3.984253334131555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5398160212401056E-4</c:v>
                </c:pt>
                <c:pt idx="2">
                  <c:v>7.2726081771241943E-2</c:v>
                </c:pt>
                <c:pt idx="3">
                  <c:v>4.416413057141879E-2</c:v>
                </c:pt>
                <c:pt idx="4">
                  <c:v>1.33865466545600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363996675507241E-2</c:v>
                </c:pt>
                <c:pt idx="1">
                  <c:v>1.2544411333323277E-2</c:v>
                </c:pt>
                <c:pt idx="2">
                  <c:v>5.7655972142392473E-2</c:v>
                </c:pt>
                <c:pt idx="3">
                  <c:v>0.22249126397627481</c:v>
                </c:pt>
                <c:pt idx="4">
                  <c:v>6.6276897964923975E-2</c:v>
                </c:pt>
                <c:pt idx="5">
                  <c:v>9.903302030148813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3239934574478192E-3</c:v>
                </c:pt>
                <c:pt idx="1">
                  <c:v>3.6253296017058956E-2</c:v>
                </c:pt>
                <c:pt idx="2">
                  <c:v>0.1376689147191372</c:v>
                </c:pt>
                <c:pt idx="3">
                  <c:v>0.2654072694888866</c:v>
                </c:pt>
                <c:pt idx="4">
                  <c:v>0.40285776763256737</c:v>
                </c:pt>
                <c:pt idx="5">
                  <c:v>0.14524955520144489</c:v>
                </c:pt>
                <c:pt idx="6">
                  <c:v>5.239203483457179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301996601009916E-2</c:v>
                </c:pt>
                <c:pt idx="1">
                  <c:v>7.1126025878935378E-2</c:v>
                </c:pt>
                <c:pt idx="2">
                  <c:v>0.23033524417359652</c:v>
                </c:pt>
                <c:pt idx="3">
                  <c:v>0.46134285060537805</c:v>
                </c:pt>
                <c:pt idx="4">
                  <c:v>0.19716732528025699</c:v>
                </c:pt>
                <c:pt idx="5">
                  <c:v>1.47265574608231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10031436665925586</c:v>
                </c:pt>
                <c:pt idx="4">
                  <c:v>7.9905011925908903E-2</c:v>
                </c:pt>
                <c:pt idx="5">
                  <c:v>3.250143911872785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6545613513717854E-2</c:v>
                </c:pt>
                <c:pt idx="2">
                  <c:v>7.6199858221541197E-2</c:v>
                </c:pt>
                <c:pt idx="3">
                  <c:v>9.8270150594074693E-2</c:v>
                </c:pt>
                <c:pt idx="4">
                  <c:v>5.834866022849737E-2</c:v>
                </c:pt>
                <c:pt idx="5">
                  <c:v>4.1082753755869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1747138792427803E-2</c:v>
                </c:pt>
                <c:pt idx="2">
                  <c:v>5.2075568517397058E-2</c:v>
                </c:pt>
                <c:pt idx="3">
                  <c:v>8.5923322855900236E-2</c:v>
                </c:pt>
                <c:pt idx="4">
                  <c:v>2.3717506296066459E-2</c:v>
                </c:pt>
                <c:pt idx="5">
                  <c:v>7.309045101369602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5301996601009916E-2</c:v>
                </c:pt>
                <c:pt idx="1">
                  <c:v>2.8332735727897144E-3</c:v>
                </c:pt>
                <c:pt idx="2">
                  <c:v>0.10205981743465826</c:v>
                </c:pt>
                <c:pt idx="3">
                  <c:v>0.17683501049614725</c:v>
                </c:pt>
                <c:pt idx="4">
                  <c:v>3.5196146829784253E-2</c:v>
                </c:pt>
                <c:pt idx="5">
                  <c:v>5.90930719938637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810004802424E-3</c:v>
                </c:pt>
                <c:pt idx="2">
                  <c:v>6.5371844667268725E-2</c:v>
                </c:pt>
                <c:pt idx="3">
                  <c:v>0.18285905725428619</c:v>
                </c:pt>
                <c:pt idx="4">
                  <c:v>0.5880937669185049</c:v>
                </c:pt>
                <c:pt idx="5">
                  <c:v>0.1576957924175024</c:v>
                </c:pt>
                <c:pt idx="6">
                  <c:v>3.970535465747346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1154772587513647E-5</c:v>
                </c:pt>
                <c:pt idx="2">
                  <c:v>2.4233718295497964E-2</c:v>
                </c:pt>
                <c:pt idx="3">
                  <c:v>9.3817259810823811E-2</c:v>
                </c:pt>
                <c:pt idx="4">
                  <c:v>0.2514701287433227</c:v>
                </c:pt>
                <c:pt idx="5">
                  <c:v>7.8216082905107454E-2</c:v>
                </c:pt>
                <c:pt idx="6">
                  <c:v>3.803331031781629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3524199763315763E-4</c:v>
                </c:pt>
                <c:pt idx="2">
                  <c:v>3.3481108169054898E-2</c:v>
                </c:pt>
                <c:pt idx="3">
                  <c:v>4.901000674680546E-2</c:v>
                </c:pt>
                <c:pt idx="4">
                  <c:v>0.15644648476342674</c:v>
                </c:pt>
                <c:pt idx="5">
                  <c:v>8.836832456448871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398713891251741E-3</c:v>
                </c:pt>
                <c:pt idx="3">
                  <c:v>2.3555383845134243E-2</c:v>
                </c:pt>
                <c:pt idx="4">
                  <c:v>4.9830623433737023E-2</c:v>
                </c:pt>
                <c:pt idx="5">
                  <c:v>6.950786268319173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5.5171468135906962E-3</c:v>
                </c:pt>
                <c:pt idx="3">
                  <c:v>1.6476406851522699E-2</c:v>
                </c:pt>
                <c:pt idx="4">
                  <c:v>0.13034652997801841</c:v>
                </c:pt>
                <c:pt idx="5">
                  <c:v>6.9947798429114166E-2</c:v>
                </c:pt>
                <c:pt idx="6">
                  <c:v>1.672044339657164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22</c:v>
                </c:pt>
                <c:pt idx="4">
                  <c:v>0.56644603950565164</c:v>
                </c:pt>
                <c:pt idx="5">
                  <c:v>0.19549927143426438</c:v>
                </c:pt>
                <c:pt idx="6">
                  <c:v>8.1053550458520243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6660861855259E-2</c:v>
                </c:pt>
                <c:pt idx="3">
                  <c:v>5.5424375919261658E-2</c:v>
                </c:pt>
                <c:pt idx="4">
                  <c:v>0.20615380813581238</c:v>
                </c:pt>
                <c:pt idx="5">
                  <c:v>0.1052574180958061</c:v>
                </c:pt>
                <c:pt idx="6">
                  <c:v>5.182356240399011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0567911570269795E-5</c:v>
                </c:pt>
                <c:pt idx="2">
                  <c:v>3.2908010742209462E-2</c:v>
                </c:pt>
                <c:pt idx="3">
                  <c:v>5.2867011871372105E-2</c:v>
                </c:pt>
                <c:pt idx="4">
                  <c:v>0.16366770150492665</c:v>
                </c:pt>
                <c:pt idx="5">
                  <c:v>7.836428086334947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155196105875398E-3</c:v>
                </c:pt>
                <c:pt idx="3">
                  <c:v>2.361021788117313E-2</c:v>
                </c:pt>
                <c:pt idx="4">
                  <c:v>3.7662743498810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2685386025406056E-3</c:v>
                </c:pt>
                <c:pt idx="3">
                  <c:v>1.42372502267753E-2</c:v>
                </c:pt>
                <c:pt idx="4">
                  <c:v>0.15896178636610173</c:v>
                </c:pt>
                <c:pt idx="5">
                  <c:v>8.2405425252123327E-2</c:v>
                </c:pt>
                <c:pt idx="6">
                  <c:v>2.92299880545301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942843330246545E-3</c:v>
                </c:pt>
                <c:pt idx="2">
                  <c:v>9.7506639456964889E-2</c:v>
                </c:pt>
                <c:pt idx="3">
                  <c:v>0.19168329326666833</c:v>
                </c:pt>
                <c:pt idx="4">
                  <c:v>0.56953386976592013</c:v>
                </c:pt>
                <c:pt idx="5">
                  <c:v>0.10787061450752936</c:v>
                </c:pt>
                <c:pt idx="6">
                  <c:v>3.011129866989259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9947811858568432E-3</c:v>
                </c:pt>
                <c:pt idx="3">
                  <c:v>4.501914675469937E-3</c:v>
                </c:pt>
                <c:pt idx="4">
                  <c:v>1.1810000886941539E-2</c:v>
                </c:pt>
                <c:pt idx="5">
                  <c:v>6.713056773440864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82107038231495E-2</c:v>
                </c:pt>
                <c:pt idx="2">
                  <c:v>4.6280280336778355E-2</c:v>
                </c:pt>
                <c:pt idx="3">
                  <c:v>6.1427626316549098E-2</c:v>
                </c:pt>
                <c:pt idx="4">
                  <c:v>0.13401880740884536</c:v>
                </c:pt>
                <c:pt idx="5">
                  <c:v>6.8751946157033741E-2</c:v>
                </c:pt>
                <c:pt idx="6">
                  <c:v>5.19044499941157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6526524487036569E-3</c:v>
                </c:pt>
                <c:pt idx="3">
                  <c:v>1.2198129660087619E-2</c:v>
                </c:pt>
                <c:pt idx="4">
                  <c:v>3.6430169442556434E-2</c:v>
                </c:pt>
                <c:pt idx="5">
                  <c:v>1.5206622026275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2867679396693626E-3</c:v>
                </c:pt>
                <c:pt idx="2">
                  <c:v>1.4570445635875952E-2</c:v>
                </c:pt>
                <c:pt idx="3">
                  <c:v>2.844744076716434E-2</c:v>
                </c:pt>
                <c:pt idx="4">
                  <c:v>2.0204394566771051E-2</c:v>
                </c:pt>
                <c:pt idx="5">
                  <c:v>2.045020113686262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3239934574478192E-3</c:v>
                </c:pt>
                <c:pt idx="1">
                  <c:v>1.714545769507465E-2</c:v>
                </c:pt>
                <c:pt idx="2">
                  <c:v>6.2170755111922389E-2</c:v>
                </c:pt>
                <c:pt idx="3">
                  <c:v>0.15883215806961559</c:v>
                </c:pt>
                <c:pt idx="4">
                  <c:v>0.20039439532745298</c:v>
                </c:pt>
                <c:pt idx="5">
                  <c:v>6.6218869954656479E-2</c:v>
                </c:pt>
                <c:pt idx="6">
                  <c:v>4.875848404560214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4406965773053822E-2</c:v>
                </c:pt>
                <c:pt idx="3">
                  <c:v>7.0783552492644994E-2</c:v>
                </c:pt>
                <c:pt idx="4">
                  <c:v>0.2113977210367366</c:v>
                </c:pt>
                <c:pt idx="5">
                  <c:v>8.824129259378211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40842534406015E-2</c:v>
                </c:pt>
                <c:pt idx="3">
                  <c:v>8.9066615826644796E-2</c:v>
                </c:pt>
                <c:pt idx="4">
                  <c:v>0.19051496396025755</c:v>
                </c:pt>
                <c:pt idx="5">
                  <c:v>5.8069732131064318E-2</c:v>
                </c:pt>
                <c:pt idx="6">
                  <c:v>3.011129866989259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6460916667349466E-7</c:v>
                </c:pt>
                <c:pt idx="3">
                  <c:v>2.5167157857670375E-2</c:v>
                </c:pt>
                <c:pt idx="4">
                  <c:v>7.87349897115901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2942843330246545E-3</c:v>
                </c:pt>
                <c:pt idx="2">
                  <c:v>6.9088373068423446E-4</c:v>
                </c:pt>
                <c:pt idx="3">
                  <c:v>6.6659670897081663E-3</c:v>
                </c:pt>
                <c:pt idx="4">
                  <c:v>8.8886195057335859E-2</c:v>
                </c:pt>
                <c:pt idx="5">
                  <c:v>4.0976753117086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8E-2</c:v>
                </c:pt>
                <c:pt idx="4">
                  <c:v>0.89021699739939097</c:v>
                </c:pt>
                <c:pt idx="5">
                  <c:v>7.28159513002154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34087797771166439</c:v>
                </c:pt>
                <c:pt idx="5">
                  <c:v>1.3004613954895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10353675491168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1.1224575664137333E-3</c:v>
                </c:pt>
                <c:pt idx="4">
                  <c:v>0.16484119757410542</c:v>
                </c:pt>
                <c:pt idx="5">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365210675183357E-3</c:v>
                </c:pt>
                <c:pt idx="2">
                  <c:v>4.8498062295447069E-3</c:v>
                </c:pt>
                <c:pt idx="3">
                  <c:v>2.9491676630130272E-2</c:v>
                </c:pt>
                <c:pt idx="4">
                  <c:v>0.20346245456450432</c:v>
                </c:pt>
                <c:pt idx="5">
                  <c:v>4.13852558278645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2E-2</c:v>
                </c:pt>
                <c:pt idx="4">
                  <c:v>0.83839550714659039</c:v>
                </c:pt>
                <c:pt idx="5">
                  <c:v>0.1247227947512141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8.671674918966323E-5</c:v>
                </c:pt>
                <c:pt idx="4">
                  <c:v>0.20472408778743872</c:v>
                </c:pt>
                <c:pt idx="5">
                  <c:v>1.60999982988395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6134030379639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7811388833158634</c:v>
                </c:pt>
                <c:pt idx="5">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1095190109692449E-4</c:v>
                </c:pt>
                <c:pt idx="1">
                  <c:v>1.4491880932194251E-3</c:v>
                </c:pt>
                <c:pt idx="2">
                  <c:v>4.4576960941318028E-3</c:v>
                </c:pt>
                <c:pt idx="3">
                  <c:v>3.0277145264557642E-2</c:v>
                </c:pt>
                <c:pt idx="4">
                  <c:v>0.26942350064792608</c:v>
                </c:pt>
                <c:pt idx="5">
                  <c:v>8.788349064695438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6124875882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754454081973494</c:v>
                </c:pt>
                <c:pt idx="5">
                  <c:v>2.2765783682231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700735214488155</c:v>
                </c:pt>
                <c:pt idx="5">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3253304601556915E-2</c:v>
                </c:pt>
                <c:pt idx="4">
                  <c:v>0.16065304457669638</c:v>
                </c:pt>
                <c:pt idx="5">
                  <c:v>4.33943845516836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19687086370011E-2</c:v>
                </c:pt>
                <c:pt idx="1">
                  <c:v>0.15610494674537898</c:v>
                </c:pt>
                <c:pt idx="2">
                  <c:v>2.4983151768837048E-2</c:v>
                </c:pt>
                <c:pt idx="3">
                  <c:v>0.33241322699595138</c:v>
                </c:pt>
                <c:pt idx="4">
                  <c:v>0.44155358609005096</c:v>
                </c:pt>
                <c:pt idx="5">
                  <c:v>1.54219990674024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5.6035520196260737E-3</c:v>
                </c:pt>
                <c:pt idx="1">
                  <c:v>4.9202344845834682E-2</c:v>
                </c:pt>
                <c:pt idx="2">
                  <c:v>1.350622767108383E-2</c:v>
                </c:pt>
                <c:pt idx="3">
                  <c:v>0.12289874928884116</c:v>
                </c:pt>
                <c:pt idx="4">
                  <c:v>0.18570195668086406</c:v>
                </c:pt>
                <c:pt idx="5">
                  <c:v>4.015851442184035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2174329166919292E-2</c:v>
                </c:pt>
                <c:pt idx="3">
                  <c:v>6.7871990969487928E-2</c:v>
                </c:pt>
                <c:pt idx="4">
                  <c:v>4.07556553417644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494860494824936E-3</c:v>
                </c:pt>
                <c:pt idx="3">
                  <c:v>4.7289504177559748E-2</c:v>
                </c:pt>
                <c:pt idx="4">
                  <c:v>6.1367839635894476E-3</c:v>
                </c:pt>
                <c:pt idx="5">
                  <c:v>6.02506469185837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3916135066743938E-2</c:v>
                </c:pt>
                <c:pt idx="1">
                  <c:v>7.223341223780004E-2</c:v>
                </c:pt>
                <c:pt idx="2">
                  <c:v>1.1476924097753218E-2</c:v>
                </c:pt>
                <c:pt idx="3">
                  <c:v>9.4352982560062582E-2</c:v>
                </c:pt>
                <c:pt idx="4">
                  <c:v>0.24563927991142095</c:v>
                </c:pt>
                <c:pt idx="5">
                  <c:v>1.08036411560326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295936018988206E-2</c:v>
                </c:pt>
                <c:pt idx="1">
                  <c:v>0.15937207117371921</c:v>
                </c:pt>
                <c:pt idx="2">
                  <c:v>3.7684488257838142E-2</c:v>
                </c:pt>
                <c:pt idx="3">
                  <c:v>0.26112921429863639</c:v>
                </c:pt>
                <c:pt idx="4">
                  <c:v>0.46450291190561643</c:v>
                </c:pt>
                <c:pt idx="5">
                  <c:v>1.43512567817688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9026544909140497E-2</c:v>
                </c:pt>
                <c:pt idx="1">
                  <c:v>4.9076295754269951E-2</c:v>
                </c:pt>
                <c:pt idx="2">
                  <c:v>1.8743264202139311E-2</c:v>
                </c:pt>
                <c:pt idx="3">
                  <c:v>8.2009121296644588E-2</c:v>
                </c:pt>
                <c:pt idx="4">
                  <c:v>0.17396774269164286</c:v>
                </c:pt>
                <c:pt idx="5">
                  <c:v>4.31893776128825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2.5508156852576954E-2</c:v>
                </c:pt>
                <c:pt idx="3">
                  <c:v>5.3635720081493594E-2</c:v>
                </c:pt>
                <c:pt idx="4">
                  <c:v>7.056146546709267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7297754491382299E-3</c:v>
                </c:pt>
                <c:pt idx="3">
                  <c:v>4.0675177882420498E-2</c:v>
                </c:pt>
                <c:pt idx="4">
                  <c:v>3.3293519810025716E-3</c:v>
                </c:pt>
                <c:pt idx="5">
                  <c:v>4.933127100601478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3.393281528074156E-2</c:v>
                </c:pt>
                <c:pt idx="1">
                  <c:v>8.3057843117734051E-2</c:v>
                </c:pt>
                <c:pt idx="2">
                  <c:v>1.8941224055698834E-2</c:v>
                </c:pt>
                <c:pt idx="3">
                  <c:v>8.4809195038077698E-2</c:v>
                </c:pt>
                <c:pt idx="4">
                  <c:v>0.28014967068626173</c:v>
                </c:pt>
                <c:pt idx="5">
                  <c:v>9.53900631042043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244581526303865E-3</c:v>
                </c:pt>
                <c:pt idx="1">
                  <c:v>0.13194345924355352</c:v>
                </c:pt>
                <c:pt idx="2">
                  <c:v>1.9551950596549565E-2</c:v>
                </c:pt>
                <c:pt idx="3">
                  <c:v>0.39058342036370747</c:v>
                </c:pt>
                <c:pt idx="4">
                  <c:v>0.44053261070710614</c:v>
                </c:pt>
                <c:pt idx="5">
                  <c:v>1.5664100936453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4.8520767603681979E-2</c:v>
                </c:pt>
                <c:pt idx="2">
                  <c:v>1.3246838271277345E-2</c:v>
                </c:pt>
                <c:pt idx="3">
                  <c:v>0.15771842037298539</c:v>
                </c:pt>
                <c:pt idx="4">
                  <c:v>0.20309622610094757</c:v>
                </c:pt>
                <c:pt idx="5">
                  <c:v>7.977731807671617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2579824888870743E-2</c:v>
                </c:pt>
                <c:pt idx="3">
                  <c:v>7.528890401107825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4261093146482451E-3</c:v>
                </c:pt>
                <c:pt idx="3">
                  <c:v>5.8842516548985181E-2</c:v>
                </c:pt>
                <c:pt idx="4">
                  <c:v>7.5134948389905748E-3</c:v>
                </c:pt>
                <c:pt idx="5">
                  <c:v>4.242488242675826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7244581526303867E-3</c:v>
                </c:pt>
                <c:pt idx="1">
                  <c:v>3.7416757436352553E-2</c:v>
                </c:pt>
                <c:pt idx="2">
                  <c:v>6.3051123252722205E-3</c:v>
                </c:pt>
                <c:pt idx="3">
                  <c:v>9.8733579430658566E-2</c:v>
                </c:pt>
                <c:pt idx="4">
                  <c:v>0.22992288976716796</c:v>
                </c:pt>
                <c:pt idx="5">
                  <c:v>7.262120304513810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305</c:v>
                </c:pt>
                <c:pt idx="4">
                  <c:v>0.46989999999999998</c:v>
                </c:pt>
                <c:pt idx="5">
                  <c:v>0.3996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7120963405814161E-2</c:v>
                </c:pt>
                <c:pt idx="1">
                  <c:v>7.3723027864980917E-2</c:v>
                </c:pt>
                <c:pt idx="2">
                  <c:v>0.12766201692065168</c:v>
                </c:pt>
                <c:pt idx="3">
                  <c:v>0.23425237068395854</c:v>
                </c:pt>
                <c:pt idx="4">
                  <c:v>0.38278733061914982</c:v>
                </c:pt>
                <c:pt idx="5">
                  <c:v>0.15359411735454917</c:v>
                </c:pt>
                <c:pt idx="6">
                  <c:v>8.6017315089557554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5469255993853</c:v>
                </c:pt>
                <c:pt idx="4">
                  <c:v>2.5019581296125446E-2</c:v>
                </c:pt>
                <c:pt idx="5">
                  <c:v>0.47511897357370908</c:v>
                </c:pt>
                <c:pt idx="6">
                  <c:v>2.154188326871531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7120963405814161E-2</c:v>
                </c:pt>
                <c:pt idx="1">
                  <c:v>7.3723027864980917E-2</c:v>
                </c:pt>
                <c:pt idx="2">
                  <c:v>0.12766201692065168</c:v>
                </c:pt>
                <c:pt idx="3">
                  <c:v>0.23425237068395854</c:v>
                </c:pt>
                <c:pt idx="4">
                  <c:v>0.38278733061914982</c:v>
                </c:pt>
                <c:pt idx="5">
                  <c:v>0.15359411735454917</c:v>
                </c:pt>
                <c:pt idx="6">
                  <c:v>8.6017315089557554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6.3027326123011942E-9</c:v>
                </c:pt>
                <c:pt idx="3">
                  <c:v>1.7289708839215065E-3</c:v>
                </c:pt>
                <c:pt idx="4">
                  <c:v>6.22312909940783E-3</c:v>
                </c:pt>
                <c:pt idx="5">
                  <c:v>5.29272524214936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354793958657659E-2</c:v>
                </c:pt>
                <c:pt idx="1">
                  <c:v>4.280378181887369E-2</c:v>
                </c:pt>
                <c:pt idx="2">
                  <c:v>6.2074046562050726E-2</c:v>
                </c:pt>
                <c:pt idx="3">
                  <c:v>8.9270192178144317E-2</c:v>
                </c:pt>
                <c:pt idx="4">
                  <c:v>0.17577539408158835</c:v>
                </c:pt>
                <c:pt idx="5">
                  <c:v>7.3056450349395161E-2</c:v>
                </c:pt>
                <c:pt idx="6">
                  <c:v>7.54898608072308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7.3978607016716839E-4</c:v>
                </c:pt>
                <c:pt idx="1">
                  <c:v>3.4062515141631768E-3</c:v>
                </c:pt>
                <c:pt idx="2">
                  <c:v>1.1114459155546159E-2</c:v>
                </c:pt>
                <c:pt idx="3">
                  <c:v>1.7810267475437347E-2</c:v>
                </c:pt>
                <c:pt idx="4">
                  <c:v>2.0645914855655825E-2</c:v>
                </c:pt>
                <c:pt idx="5">
                  <c:v>3.059524044168909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2.334197728886322E-6</c:v>
                </c:pt>
                <c:pt idx="1">
                  <c:v>3.4884981873106265E-5</c:v>
                </c:pt>
                <c:pt idx="2">
                  <c:v>3.4840141146249642E-3</c:v>
                </c:pt>
                <c:pt idx="3">
                  <c:v>5.09993738563149E-3</c:v>
                </c:pt>
                <c:pt idx="4">
                  <c:v>1.6994494245997117E-2</c:v>
                </c:pt>
                <c:pt idx="5">
                  <c:v>1.754244455815245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8308972486089E-2</c:v>
                </c:pt>
                <c:pt idx="1">
                  <c:v>2.7478109550070948E-2</c:v>
                </c:pt>
                <c:pt idx="2">
                  <c:v>5.0989497088429835E-2</c:v>
                </c:pt>
                <c:pt idx="3">
                  <c:v>0.12034300276082391</c:v>
                </c:pt>
                <c:pt idx="4">
                  <c:v>0.16314839833650074</c:v>
                </c:pt>
                <c:pt idx="5">
                  <c:v>7.0431173263020549E-2</c:v>
                </c:pt>
                <c:pt idx="6">
                  <c:v>1.052745428232668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167</c:v>
                </c:pt>
                <c:pt idx="4">
                  <c:v>0.44140000000000001</c:v>
                </c:pt>
                <c:pt idx="5">
                  <c:v>0.4419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899443980434349E-2</c:v>
                </c:pt>
                <c:pt idx="1">
                  <c:v>6.9936221072548613E-2</c:v>
                </c:pt>
                <c:pt idx="2">
                  <c:v>0.12263839292931009</c:v>
                </c:pt>
                <c:pt idx="3">
                  <c:v>0.22587718069519325</c:v>
                </c:pt>
                <c:pt idx="4">
                  <c:v>0.3926880605000298</c:v>
                </c:pt>
                <c:pt idx="5">
                  <c:v>0.159579798639448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4.0015537298153619E-8</c:v>
                </c:pt>
                <c:pt idx="3">
                  <c:v>1.8658240570478485E-3</c:v>
                </c:pt>
                <c:pt idx="4">
                  <c:v>7.0589384071499334E-3</c:v>
                </c:pt>
                <c:pt idx="5">
                  <c:v>7.065920710086652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2640676305699122E-2</c:v>
                </c:pt>
                <c:pt idx="1">
                  <c:v>3.5981016482109905E-2</c:v>
                </c:pt>
                <c:pt idx="2">
                  <c:v>5.2318919373392128E-2</c:v>
                </c:pt>
                <c:pt idx="3">
                  <c:v>7.6849290596592498E-2</c:v>
                </c:pt>
                <c:pt idx="4">
                  <c:v>0.16085003388928104</c:v>
                </c:pt>
                <c:pt idx="5">
                  <c:v>6.81700283535806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7.6728159481972904E-4</c:v>
                </c:pt>
                <c:pt idx="1">
                  <c:v>4.5360771938260059E-3</c:v>
                </c:pt>
                <c:pt idx="2">
                  <c:v>1.0256986681167318E-2</c:v>
                </c:pt>
                <c:pt idx="3">
                  <c:v>1.7827923888047128E-2</c:v>
                </c:pt>
                <c:pt idx="4">
                  <c:v>1.9047227525335747E-2</c:v>
                </c:pt>
                <c:pt idx="5">
                  <c:v>2.918574045021750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2.8901017652686869E-6</c:v>
                </c:pt>
                <c:pt idx="1">
                  <c:v>4.4294749858201065E-6</c:v>
                </c:pt>
                <c:pt idx="2">
                  <c:v>3.5931159572567262E-3</c:v>
                </c:pt>
                <c:pt idx="3">
                  <c:v>5.7723727348812101E-3</c:v>
                </c:pt>
                <c:pt idx="4">
                  <c:v>1.8595720784990021E-2</c:v>
                </c:pt>
                <c:pt idx="5">
                  <c:v>1.713885061926759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488555962612928E-2</c:v>
                </c:pt>
                <c:pt idx="1">
                  <c:v>2.9414697921626883E-2</c:v>
                </c:pt>
                <c:pt idx="2">
                  <c:v>5.6469370917493919E-2</c:v>
                </c:pt>
                <c:pt idx="3">
                  <c:v>0.1235617694186246</c:v>
                </c:pt>
                <c:pt idx="4">
                  <c:v>0.1871361398932731</c:v>
                </c:pt>
                <c:pt idx="5">
                  <c:v>7.971139046883228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6639999999999999</c:v>
                </c:pt>
                <c:pt idx="4">
                  <c:v>0.4284</c:v>
                </c:pt>
                <c:pt idx="5">
                  <c:v>0.405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21926824658941E-2</c:v>
                </c:pt>
                <c:pt idx="1">
                  <c:v>8.8029163127424148E-2</c:v>
                </c:pt>
                <c:pt idx="2">
                  <c:v>0.14284168638962264</c:v>
                </c:pt>
                <c:pt idx="3">
                  <c:v>0.22197384656282371</c:v>
                </c:pt>
                <c:pt idx="4">
                  <c:v>0.36551887254863047</c:v>
                </c:pt>
                <c:pt idx="5">
                  <c:v>0.1485237048277909</c:v>
                </c:pt>
                <c:pt idx="6">
                  <c:v>3.890799719049167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4575245525553756E-3</c:v>
                </c:pt>
                <c:pt idx="4">
                  <c:v>6.325081119195046E-3</c:v>
                </c:pt>
                <c:pt idx="5">
                  <c:v>5.983026531854961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4816311666600267E-2</c:v>
                </c:pt>
                <c:pt idx="1">
                  <c:v>5.4035216298964239E-2</c:v>
                </c:pt>
                <c:pt idx="2">
                  <c:v>7.0205327760858402E-2</c:v>
                </c:pt>
                <c:pt idx="3">
                  <c:v>7.2104068346901307E-2</c:v>
                </c:pt>
                <c:pt idx="4">
                  <c:v>0.16863271479348868</c:v>
                </c:pt>
                <c:pt idx="5">
                  <c:v>6.7880890340812239E-2</c:v>
                </c:pt>
                <c:pt idx="6">
                  <c:v>3.855744973526222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1.4394572867046614E-3</c:v>
                </c:pt>
                <c:pt idx="1">
                  <c:v>2.9372415954287061E-3</c:v>
                </c:pt>
                <c:pt idx="2">
                  <c:v>1.719561105266345E-2</c:v>
                </c:pt>
                <c:pt idx="3">
                  <c:v>2.0886969024342127E-2</c:v>
                </c:pt>
                <c:pt idx="4">
                  <c:v>2.8932117297572706E-2</c:v>
                </c:pt>
                <c:pt idx="5">
                  <c:v>4.99281183792981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1145440643191111E-3</c:v>
                </c:pt>
                <c:pt idx="3">
                  <c:v>4.9645025150797861E-3</c:v>
                </c:pt>
                <c:pt idx="4">
                  <c:v>1.5771672642236723E-2</c:v>
                </c:pt>
                <c:pt idx="5">
                  <c:v>1.892562727893538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966157871354014E-2</c:v>
                </c:pt>
                <c:pt idx="1">
                  <c:v>3.1056705233031213E-2</c:v>
                </c:pt>
                <c:pt idx="2">
                  <c:v>5.2326203511781695E-2</c:v>
                </c:pt>
                <c:pt idx="3">
                  <c:v>0.12156078212394514</c:v>
                </c:pt>
                <c:pt idx="4">
                  <c:v>0.14585728669613732</c:v>
                </c:pt>
                <c:pt idx="5">
                  <c:v>6.7774413389300306E-2</c:v>
                </c:pt>
                <c:pt idx="6">
                  <c:v>3.5054745522945021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6439999999999999</c:v>
                </c:pt>
                <c:pt idx="4">
                  <c:v>0.55930000000000002</c:v>
                </c:pt>
                <c:pt idx="5">
                  <c:v>0.2762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7894799189421E-3</c:v>
                </c:pt>
                <c:pt idx="1">
                  <c:v>3.8221977250803986E-2</c:v>
                </c:pt>
                <c:pt idx="2">
                  <c:v>0.12804261363486491</c:v>
                </c:pt>
                <c:pt idx="3">
                  <c:v>0.2579541169363222</c:v>
                </c:pt>
                <c:pt idx="4">
                  <c:v>0.41149259607783301</c:v>
                </c:pt>
                <c:pt idx="5">
                  <c:v>0.15866418882005121</c:v>
                </c:pt>
                <c:pt idx="6">
                  <c:v>7.666124809351970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705592330794557</c:v>
                </c:pt>
                <c:pt idx="5">
                  <c:v>0.106738456639838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5152003024068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71734443266597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2.9876925199294463E-4</c:v>
                </c:pt>
                <c:pt idx="4">
                  <c:v>2.5019581296125446E-2</c:v>
                </c:pt>
                <c:pt idx="5">
                  <c:v>0.13605506958314223</c:v>
                </c:pt>
                <c:pt idx="6">
                  <c:v>2.15418832687153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3.0290960806405704E-3</c:v>
                </c:pt>
                <c:pt idx="4">
                  <c:v>1.030526546308852E-2</c:v>
                </c:pt>
                <c:pt idx="5">
                  <c:v>5.091109390956559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7625222054821565E-4</c:v>
                </c:pt>
                <c:pt idx="1">
                  <c:v>1.708817635472995E-2</c:v>
                </c:pt>
                <c:pt idx="2">
                  <c:v>5.4487747315806127E-2</c:v>
                </c:pt>
                <c:pt idx="3">
                  <c:v>8.3986286494886847E-2</c:v>
                </c:pt>
                <c:pt idx="4">
                  <c:v>0.1623279836162009</c:v>
                </c:pt>
                <c:pt idx="5">
                  <c:v>7.7951035897218995E-2</c:v>
                </c:pt>
                <c:pt idx="6">
                  <c:v>6.935730631272527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0894321921563793E-6</c:v>
                </c:pt>
                <c:pt idx="1">
                  <c:v>6.1117259317503253E-5</c:v>
                </c:pt>
                <c:pt idx="2">
                  <c:v>6.1038699943694492E-3</c:v>
                </c:pt>
                <c:pt idx="3">
                  <c:v>8.934910639611441E-3</c:v>
                </c:pt>
                <c:pt idx="4">
                  <c:v>2.8521427643624298E-2</c:v>
                </c:pt>
                <c:pt idx="5">
                  <c:v>1.611024229061857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0995381943063728E-3</c:v>
                </c:pt>
                <c:pt idx="2">
                  <c:v>1.0335765050964368E-2</c:v>
                </c:pt>
                <c:pt idx="3">
                  <c:v>2.2876840523554667E-2</c:v>
                </c:pt>
                <c:pt idx="4">
                  <c:v>1.4996881925699021E-2</c:v>
                </c:pt>
                <c:pt idx="5">
                  <c:v>1.735080479654840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5775531464490498E-3</c:v>
                </c:pt>
                <c:pt idx="1">
                  <c:v>1.8973145442450153E-2</c:v>
                </c:pt>
                <c:pt idx="2">
                  <c:v>5.7115231273724983E-2</c:v>
                </c:pt>
                <c:pt idx="3">
                  <c:v>0.13912698319762867</c:v>
                </c:pt>
                <c:pt idx="4">
                  <c:v>0.19534103742922032</c:v>
                </c:pt>
                <c:pt idx="5">
                  <c:v>7.2275938823158956E-2</c:v>
                </c:pt>
                <c:pt idx="6">
                  <c:v>7.303941780794427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4829999999999999</c:v>
                </c:pt>
                <c:pt idx="4">
                  <c:v>0.53320000000000001</c:v>
                </c:pt>
                <c:pt idx="5">
                  <c:v>0.318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34E-3</c:v>
                </c:pt>
                <c:pt idx="1">
                  <c:v>4.0453124052177082E-2</c:v>
                </c:pt>
                <c:pt idx="2">
                  <c:v>0.12468065232928348</c:v>
                </c:pt>
                <c:pt idx="3">
                  <c:v>0.24066929757465191</c:v>
                </c:pt>
                <c:pt idx="4">
                  <c:v>0.4235016609865862</c:v>
                </c:pt>
                <c:pt idx="5">
                  <c:v>0.166092079765411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3.0273979242497469E-3</c:v>
                </c:pt>
                <c:pt idx="4">
                  <c:v>1.0885058477386517E-2</c:v>
                </c:pt>
                <c:pt idx="5">
                  <c:v>6.500556347624684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340444332363107E-6</c:v>
                </c:pt>
                <c:pt idx="1">
                  <c:v>1.1515417946032995E-2</c:v>
                </c:pt>
                <c:pt idx="2">
                  <c:v>4.464303768055658E-2</c:v>
                </c:pt>
                <c:pt idx="3">
                  <c:v>6.8097682012543376E-2</c:v>
                </c:pt>
                <c:pt idx="4">
                  <c:v>0.15450111822069676</c:v>
                </c:pt>
                <c:pt idx="5">
                  <c:v>7.01548100503568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6893425197275038E-6</c:v>
                </c:pt>
                <c:pt idx="1">
                  <c:v>7.1870567468216954E-6</c:v>
                </c:pt>
                <c:pt idx="2">
                  <c:v>5.8300201187237114E-3</c:v>
                </c:pt>
                <c:pt idx="3">
                  <c:v>9.365979160556542E-3</c:v>
                </c:pt>
                <c:pt idx="4">
                  <c:v>2.8995553697662518E-2</c:v>
                </c:pt>
                <c:pt idx="5">
                  <c:v>1.3883103953064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930487407266894E-3</c:v>
                </c:pt>
                <c:pt idx="2">
                  <c:v>6.7667782330022063E-3</c:v>
                </c:pt>
                <c:pt idx="3">
                  <c:v>6.7024789860080569E-3</c:v>
                </c:pt>
                <c:pt idx="4">
                  <c:v>2.52568120617256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3653869969023842E-3</c:v>
                </c:pt>
                <c:pt idx="1">
                  <c:v>2.6637470308670572E-2</c:v>
                </c:pt>
                <c:pt idx="2">
                  <c:v>6.744081629700098E-2</c:v>
                </c:pt>
                <c:pt idx="3">
                  <c:v>0.15347575949129419</c:v>
                </c:pt>
                <c:pt idx="4">
                  <c:v>0.20386311852911476</c:v>
                </c:pt>
                <c:pt idx="5">
                  <c:v>8.80484029721235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1890000000000001</c:v>
                </c:pt>
                <c:pt idx="4">
                  <c:v>0.51859999999999995</c:v>
                </c:pt>
                <c:pt idx="5">
                  <c:v>0.262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3239934574478192E-3</c:v>
                </c:pt>
                <c:pt idx="1">
                  <c:v>3.6253296017058956E-2</c:v>
                </c:pt>
                <c:pt idx="2">
                  <c:v>0.1376689147191372</c:v>
                </c:pt>
                <c:pt idx="3">
                  <c:v>0.2654072694888866</c:v>
                </c:pt>
                <c:pt idx="4">
                  <c:v>0.40285776763256737</c:v>
                </c:pt>
                <c:pt idx="5">
                  <c:v>0.14524955520144489</c:v>
                </c:pt>
                <c:pt idx="6">
                  <c:v>5.239203483457179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6.0383095876903803E-3</c:v>
                </c:pt>
                <c:pt idx="4">
                  <c:v>1.4303879708351728E-2</c:v>
                </c:pt>
                <c:pt idx="5">
                  <c:v>7.237774229449225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82107038231495E-2</c:v>
                </c:pt>
                <c:pt idx="2">
                  <c:v>4.6280280336778355E-2</c:v>
                </c:pt>
                <c:pt idx="3">
                  <c:v>6.1427626316549098E-2</c:v>
                </c:pt>
                <c:pt idx="4">
                  <c:v>0.13401880740884536</c:v>
                </c:pt>
                <c:pt idx="5">
                  <c:v>6.8751946157033741E-2</c:v>
                </c:pt>
                <c:pt idx="6">
                  <c:v>5.19044499941157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6526524487036569E-3</c:v>
                </c:pt>
                <c:pt idx="3">
                  <c:v>1.2198129660087619E-2</c:v>
                </c:pt>
                <c:pt idx="4">
                  <c:v>3.6430169442556434E-2</c:v>
                </c:pt>
                <c:pt idx="5">
                  <c:v>1.5206622026275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2867679396693626E-3</c:v>
                </c:pt>
                <c:pt idx="2">
                  <c:v>1.4570445635875952E-2</c:v>
                </c:pt>
                <c:pt idx="3">
                  <c:v>2.844744076716434E-2</c:v>
                </c:pt>
                <c:pt idx="4">
                  <c:v>2.0204394566771051E-2</c:v>
                </c:pt>
                <c:pt idx="5">
                  <c:v>2.045020113686262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3239934574478192E-3</c:v>
                </c:pt>
                <c:pt idx="1">
                  <c:v>1.714545769507465E-2</c:v>
                </c:pt>
                <c:pt idx="2">
                  <c:v>6.9165536297779232E-2</c:v>
                </c:pt>
                <c:pt idx="3">
                  <c:v>0.15729576315739516</c:v>
                </c:pt>
                <c:pt idx="4">
                  <c:v>0.19790051650604279</c:v>
                </c:pt>
                <c:pt idx="5">
                  <c:v>6.5694152498648115E-2</c:v>
                </c:pt>
                <c:pt idx="6">
                  <c:v>4.875848404560214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5469255993853</c:v>
                </c:pt>
                <c:pt idx="4">
                  <c:v>2.5019581296125446E-2</c:v>
                </c:pt>
                <c:pt idx="5">
                  <c:v>0.47511897357370908</c:v>
                </c:pt>
                <c:pt idx="6">
                  <c:v>2.154188326871531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8.71734443266597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705592330794557</c:v>
                </c:pt>
                <c:pt idx="5">
                  <c:v>0.106738456639838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5152003024068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6.347419574932664E-3</c:v>
                </c:pt>
                <c:pt idx="5">
                  <c:v>6.08963861120308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2.9876925199294463E-4</c:v>
                </c:pt>
                <c:pt idx="4">
                  <c:v>1.8672161721192782E-2</c:v>
                </c:pt>
                <c:pt idx="5">
                  <c:v>7.5158683471111362E-2</c:v>
                </c:pt>
                <c:pt idx="6">
                  <c:v>2.15418832687153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9.518821305351296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694361812845544</c:v>
                </c:pt>
                <c:pt idx="5">
                  <c:v>0.12455267116511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5.526072161864672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6130149470014202E-4</c:v>
                </c:pt>
                <c:pt idx="4">
                  <c:v>1.9066378237682906E-2</c:v>
                </c:pt>
                <c:pt idx="5">
                  <c:v>6.321923304383939E-2</c:v>
                </c:pt>
                <c:pt idx="6">
                  <c:v>7.455741430267974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3014811570907</c:v>
                </c:pt>
                <c:pt idx="4">
                  <c:v>3.1886401699219143E-2</c:v>
                </c:pt>
                <c:pt idx="5">
                  <c:v>0.452583450185071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0.1121405586234327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51552710585296213</c:v>
                </c:pt>
                <c:pt idx="5">
                  <c:v>9.479040304578757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240659663272917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6.99860218517340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3.0422627469104379E-6</c:v>
                </c:pt>
                <c:pt idx="4">
                  <c:v>3.1886401699219143E-2</c:v>
                </c:pt>
                <c:pt idx="5">
                  <c:v>5.160050033682569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177561024199167E-3</c:v>
                </c:pt>
                <c:pt idx="1">
                  <c:v>3.2027653167575096E-2</c:v>
                </c:pt>
                <c:pt idx="2">
                  <c:v>2.3524044420734705E-3</c:v>
                </c:pt>
                <c:pt idx="3">
                  <c:v>0.38242026159328435</c:v>
                </c:pt>
                <c:pt idx="4">
                  <c:v>0.56747496286225174</c:v>
                </c:pt>
                <c:pt idx="5">
                  <c:v>1.44069618323955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942771726830701E-7</c:v>
                </c:pt>
                <c:pt idx="4">
                  <c:v>1.84887482278309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0625455076117907E-6</c:v>
                </c:pt>
                <c:pt idx="2">
                  <c:v>1.1891880959988901E-3</c:v>
                </c:pt>
                <c:pt idx="3">
                  <c:v>0.23738123807631398</c:v>
                </c:pt>
                <c:pt idx="4">
                  <c:v>0.3111692615882069</c:v>
                </c:pt>
                <c:pt idx="5">
                  <c:v>1.13116883257654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1.6045150282728384E-6</c:v>
                </c:pt>
                <c:pt idx="3">
                  <c:v>8.9261738246863231E-2</c:v>
                </c:pt>
                <c:pt idx="4">
                  <c:v>0.1546508387035381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1.1195949308392695E-6</c:v>
                </c:pt>
                <c:pt idx="3">
                  <c:v>5.1722718580729009E-3</c:v>
                </c:pt>
                <c:pt idx="4">
                  <c:v>3.69121035542874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3136200192359246E-3</c:v>
                </c:pt>
                <c:pt idx="1">
                  <c:v>3.2027653167575096E-2</c:v>
                </c:pt>
                <c:pt idx="2">
                  <c:v>1.1632163460745804E-3</c:v>
                </c:pt>
                <c:pt idx="3">
                  <c:v>5.0605013412034154E-2</c:v>
                </c:pt>
                <c:pt idx="4">
                  <c:v>4.6254010788388228E-2</c:v>
                </c:pt>
                <c:pt idx="5">
                  <c:v>1.327579299981898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999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338356994032058E-4</c:v>
                </c:pt>
                <c:pt idx="1">
                  <c:v>1.9618191826917E-2</c:v>
                </c:pt>
                <c:pt idx="2">
                  <c:v>7.402755160323117E-4</c:v>
                </c:pt>
                <c:pt idx="3">
                  <c:v>0.32972950609608248</c:v>
                </c:pt>
                <c:pt idx="4">
                  <c:v>0.6455594961322717</c:v>
                </c:pt>
                <c:pt idx="5">
                  <c:v>3.63914685875637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8156097404007821E-6</c:v>
                </c:pt>
                <c:pt idx="4">
                  <c:v>2.189429626420302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3728694740785775</c:v>
                </c:pt>
                <c:pt idx="4">
                  <c:v>0.273528499142100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1.2928820236534203E-5</c:v>
                </c:pt>
                <c:pt idx="3">
                  <c:v>5.3712525096276616E-2</c:v>
                </c:pt>
                <c:pt idx="4">
                  <c:v>0.2029274871315142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9982796049871918E-3</c:v>
                </c:pt>
                <c:pt idx="4">
                  <c:v>9.26966531019400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9763913996338551E-4</c:v>
                </c:pt>
                <c:pt idx="1">
                  <c:v>1.9618191826917E-2</c:v>
                </c:pt>
                <c:pt idx="2">
                  <c:v>7.402755160323117E-4</c:v>
                </c:pt>
                <c:pt idx="3">
                  <c:v>3.5731753986960851E-2</c:v>
                </c:pt>
                <c:pt idx="4">
                  <c:v>5.4512560492513351E-2</c:v>
                </c:pt>
                <c:pt idx="5">
                  <c:v>3.63914685875637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8965406986938915E-3</c:v>
                </c:pt>
                <c:pt idx="1">
                  <c:v>4.8952596641094387E-2</c:v>
                </c:pt>
                <c:pt idx="2">
                  <c:v>2.2539736883549011E-3</c:v>
                </c:pt>
                <c:pt idx="3">
                  <c:v>0.47501720035688511</c:v>
                </c:pt>
                <c:pt idx="4">
                  <c:v>0.45597700238592082</c:v>
                </c:pt>
                <c:pt idx="5">
                  <c:v>1.59026862290508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2.0228635553065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5629209471854381</c:v>
                </c:pt>
                <c:pt idx="4">
                  <c:v>0.203371980478097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0.16547609369401287</c:v>
                </c:pt>
                <c:pt idx="4">
                  <c:v>0.1990426354550754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3678656898886154E-2</c:v>
                </c:pt>
                <c:pt idx="3">
                  <c:v>2.4418328887488249E-2</c:v>
                </c:pt>
                <c:pt idx="4">
                  <c:v>9.6012105353074084E-3</c:v>
                </c:pt>
                <c:pt idx="5">
                  <c:v>4.12643060585177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8965406986938915E-3</c:v>
                </c:pt>
                <c:pt idx="1">
                  <c:v>1.5273939742208233E-2</c:v>
                </c:pt>
                <c:pt idx="2">
                  <c:v>2.2539736883549011E-3</c:v>
                </c:pt>
                <c:pt idx="3">
                  <c:v>2.8830683056840205E-2</c:v>
                </c:pt>
                <c:pt idx="4">
                  <c:v>2.3732540364374482E-2</c:v>
                </c:pt>
                <c:pt idx="5">
                  <c:v>1.17762556231990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318942391174119E-2</c:v>
                </c:pt>
                <c:pt idx="2">
                  <c:v>5.5137933884248834E-2</c:v>
                </c:pt>
                <c:pt idx="3">
                  <c:v>3.4736686526628133E-2</c:v>
                </c:pt>
                <c:pt idx="4">
                  <c:v>6.7670136525075128E-2</c:v>
                </c:pt>
                <c:pt idx="5">
                  <c:v>1.347828842525293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4008489523505575E-3</c:v>
                </c:pt>
                <c:pt idx="2">
                  <c:v>3.50331077300279E-2</c:v>
                </c:pt>
                <c:pt idx="3">
                  <c:v>8.9897595634951935E-2</c:v>
                </c:pt>
                <c:pt idx="4">
                  <c:v>4.4531214209419481E-2</c:v>
                </c:pt>
                <c:pt idx="5">
                  <c:v>7.182365481905159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332068254325133E-2</c:v>
                </c:pt>
                <c:pt idx="3">
                  <c:v>2.4515348950153868E-2</c:v>
                </c:pt>
                <c:pt idx="4">
                  <c:v>8.5179748515055095E-2</c:v>
                </c:pt>
                <c:pt idx="5">
                  <c:v>3.96119252888557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9.2319754154723752E-3</c:v>
                </c:pt>
                <c:pt idx="2">
                  <c:v>8.7874455501178436E-2</c:v>
                </c:pt>
                <c:pt idx="3">
                  <c:v>3.6302940848441656E-3</c:v>
                </c:pt>
                <c:pt idx="4">
                  <c:v>0.13819197647741857</c:v>
                </c:pt>
                <c:pt idx="5">
                  <c:v>4.817903011132202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599</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694361812845544</c:v>
                </c:pt>
                <c:pt idx="5">
                  <c:v>0.12455267116511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9.51882130535129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6130149470014202E-4</c:v>
                </c:pt>
                <c:pt idx="4">
                  <c:v>1.9066378237682906E-2</c:v>
                </c:pt>
                <c:pt idx="5">
                  <c:v>0.11847995466248612</c:v>
                </c:pt>
                <c:pt idx="6">
                  <c:v>7.455741430267974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0.13883172631490734</c:v>
                </c:pt>
                <c:pt idx="2">
                  <c:v>6.85733513406976E-2</c:v>
                </c:pt>
                <c:pt idx="3">
                  <c:v>8.5199533734594043E-3</c:v>
                </c:pt>
                <c:pt idx="4">
                  <c:v>8.5279185241007888E-2</c:v>
                </c:pt>
                <c:pt idx="5">
                  <c:v>1.8039325530002339E-2</c:v>
                </c:pt>
                <c:pt idx="6">
                  <c:v>2.465358830036394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0467504009943729E-2</c:v>
                </c:pt>
                <c:pt idx="2">
                  <c:v>4.2645548657318455E-2</c:v>
                </c:pt>
                <c:pt idx="3">
                  <c:v>9.0446099607501371E-2</c:v>
                </c:pt>
                <c:pt idx="4">
                  <c:v>8.6482493425185485E-3</c:v>
                </c:pt>
                <c:pt idx="5">
                  <c:v>8.448408578421103E-2</c:v>
                </c:pt>
                <c:pt idx="6">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7.8700417513986307E-2</c:v>
                </c:pt>
                <c:pt idx="3">
                  <c:v>1.932140439824797E-2</c:v>
                </c:pt>
                <c:pt idx="4">
                  <c:v>7.1782763875395186E-2</c:v>
                </c:pt>
                <c:pt idx="5">
                  <c:v>5.2847180636571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2.1142735289773985E-2</c:v>
                </c:pt>
                <c:pt idx="2">
                  <c:v>2.7218375195673633E-2</c:v>
                </c:pt>
                <c:pt idx="3">
                  <c:v>9.3868083934987422E-3</c:v>
                </c:pt>
                <c:pt idx="4">
                  <c:v>0.10069716249792325</c:v>
                </c:pt>
                <c:pt idx="5">
                  <c:v>6.228525498779285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2.8448886650238012E-2</c:v>
                </c:pt>
                <c:pt idx="3">
                  <c:v>0.13057577620431085</c:v>
                </c:pt>
                <c:pt idx="4">
                  <c:v>1.214868734794698E-2</c:v>
                </c:pt>
                <c:pt idx="5">
                  <c:v>8.197395190802823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9.9025390559011175E-2</c:v>
                </c:pt>
                <c:pt idx="2">
                  <c:v>6.450832288352E-2</c:v>
                </c:pt>
                <c:pt idx="3">
                  <c:v>2.7784252533189901E-2</c:v>
                </c:pt>
                <c:pt idx="4">
                  <c:v>9.8743693851477465E-2</c:v>
                </c:pt>
                <c:pt idx="5">
                  <c:v>6.021413150086919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604146335066902E-2</c:v>
                </c:pt>
                <c:pt idx="3">
                  <c:v>3.3856581368870375E-2</c:v>
                </c:pt>
                <c:pt idx="4">
                  <c:v>8.5025244020544052E-2</c:v>
                </c:pt>
                <c:pt idx="5">
                  <c:v>4.37399473023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9450471560104646E-2</c:v>
                </c:pt>
                <c:pt idx="4">
                  <c:v>0.13474511324270647</c:v>
                </c:pt>
                <c:pt idx="5">
                  <c:v>5.097116912101097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923</c:v>
                </c:pt>
                <c:pt idx="4">
                  <c:v>0.65429999999999999</c:v>
                </c:pt>
                <c:pt idx="5">
                  <c:v>0.153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89228933701E-2</c:v>
                </c:pt>
                <c:pt idx="2">
                  <c:v>4.1137747582242541E-2</c:v>
                </c:pt>
                <c:pt idx="3">
                  <c:v>0.31355241604004941</c:v>
                </c:pt>
                <c:pt idx="4">
                  <c:v>0.55220862714204089</c:v>
                </c:pt>
                <c:pt idx="5">
                  <c:v>6.27713164279378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0110553998569428E-2</c:v>
                </c:pt>
                <c:pt idx="4">
                  <c:v>6.8417967620626852E-2</c:v>
                </c:pt>
                <c:pt idx="5">
                  <c:v>1.604113738252666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257453978876326E-2</c:v>
                </c:pt>
                <c:pt idx="2">
                  <c:v>4.111799119349209E-2</c:v>
                </c:pt>
                <c:pt idx="3">
                  <c:v>8.3972734280447783E-2</c:v>
                </c:pt>
                <c:pt idx="4">
                  <c:v>0.14385290781045273</c:v>
                </c:pt>
                <c:pt idx="5">
                  <c:v>3.530865388191278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830171229182353E-2</c:v>
                </c:pt>
                <c:pt idx="4">
                  <c:v>0.11193663458704405</c:v>
                </c:pt>
                <c:pt idx="5">
                  <c:v>8.182288310560101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3674745414843268E-2</c:v>
                </c:pt>
                <c:pt idx="3">
                  <c:v>4.2149006879102752E-2</c:v>
                </c:pt>
                <c:pt idx="4">
                  <c:v>7.74976358425015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3806928956174173E-3</c:v>
                </c:pt>
                <c:pt idx="2">
                  <c:v>1.9756388750451621E-5</c:v>
                </c:pt>
                <c:pt idx="3">
                  <c:v>7.8489949652747096E-2</c:v>
                </c:pt>
                <c:pt idx="4">
                  <c:v>0.15050348128141564</c:v>
                </c:pt>
                <c:pt idx="5">
                  <c:v>3.854753764831226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8709999999999999</c:v>
                </c:pt>
                <c:pt idx="4">
                  <c:v>0.67290000000000005</c:v>
                </c:pt>
                <c:pt idx="5">
                  <c:v>0.1400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5</c:v>
                </c:pt>
                <c:pt idx="4">
                  <c:v>0.59387574108439223</c:v>
                </c:pt>
                <c:pt idx="5">
                  <c:v>5.89874561094732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0414795047385217E-2</c:v>
                </c:pt>
                <c:pt idx="4">
                  <c:v>7.3401727640319561E-2</c:v>
                </c:pt>
                <c:pt idx="5">
                  <c:v>1.527106411326292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462823601955515E-2</c:v>
                </c:pt>
                <c:pt idx="2">
                  <c:v>4.5630734450636229E-2</c:v>
                </c:pt>
                <c:pt idx="3">
                  <c:v>4.5197142309156488E-2</c:v>
                </c:pt>
                <c:pt idx="4">
                  <c:v>0.170315450658253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6435649394388581E-2</c:v>
                </c:pt>
                <c:pt idx="3">
                  <c:v>3.6146301740761742E-2</c:v>
                </c:pt>
                <c:pt idx="4">
                  <c:v>9.117222358311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6.7287806813729936E-2</c:v>
                </c:pt>
                <c:pt idx="4">
                  <c:v>8.2581405637886227E-2</c:v>
                </c:pt>
                <c:pt idx="5">
                  <c:v>6.92473259129919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8.9681894677747162E-3</c:v>
                </c:pt>
                <c:pt idx="2">
                  <c:v>2.2874250549976061E-6</c:v>
                </c:pt>
                <c:pt idx="3">
                  <c:v>9.1580913171355346E-2</c:v>
                </c:pt>
                <c:pt idx="4">
                  <c:v>0.17640493356482195</c:v>
                </c:pt>
                <c:pt idx="5">
                  <c:v>4.30239187370804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47</c:v>
                </c:pt>
                <c:pt idx="4">
                  <c:v>0.58509999999999995</c:v>
                </c:pt>
                <c:pt idx="5">
                  <c:v>0.167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1325297527232E-2</c:v>
                </c:pt>
                <c:pt idx="2">
                  <c:v>6.8177130023839225E-2</c:v>
                </c:pt>
                <c:pt idx="3">
                  <c:v>0.30918181313914184</c:v>
                </c:pt>
                <c:pt idx="4">
                  <c:v>0.54895850601748686</c:v>
                </c:pt>
                <c:pt idx="5">
                  <c:v>5.88440231994877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3.6414350186043658E-2</c:v>
                </c:pt>
                <c:pt idx="4">
                  <c:v>8.6260314605398097E-2</c:v>
                </c:pt>
                <c:pt idx="5">
                  <c:v>2.476167350140678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5.7283511040786671E-3</c:v>
                </c:pt>
                <c:pt idx="2">
                  <c:v>6.8177130023839225E-2</c:v>
                </c:pt>
                <c:pt idx="3">
                  <c:v>9.3507570525918696E-2</c:v>
                </c:pt>
                <c:pt idx="4">
                  <c:v>0.1510187588802414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5.2611447523963163E-2</c:v>
                </c:pt>
                <c:pt idx="4">
                  <c:v>9.6436009581161525E-2</c:v>
                </c:pt>
                <c:pt idx="5">
                  <c:v>3.37577324345810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953325361311824E-3</c:v>
                </c:pt>
                <c:pt idx="3">
                  <c:v>4.6247871347108491E-2</c:v>
                </c:pt>
                <c:pt idx="4">
                  <c:v>7.22581335091514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4.9648832136740688E-5</c:v>
                </c:pt>
                <c:pt idx="3">
                  <c:v>8.0400573556107857E-2</c:v>
                </c:pt>
                <c:pt idx="4">
                  <c:v>0.14298528944153432</c:v>
                </c:pt>
                <c:pt idx="5">
                  <c:v>3.070657645462289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46000868461034E-3</c:v>
                </c:pt>
                <c:pt idx="1">
                  <c:v>7.9127851355647802E-3</c:v>
                </c:pt>
                <c:pt idx="2">
                  <c:v>9.8833451814382384E-2</c:v>
                </c:pt>
                <c:pt idx="3">
                  <c:v>0.1141714758048413</c:v>
                </c:pt>
                <c:pt idx="4">
                  <c:v>0.38273698753851865</c:v>
                </c:pt>
                <c:pt idx="5">
                  <c:v>0.393290699619846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121572724597649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1516675441133448E-3</c:v>
                </c:pt>
                <c:pt idx="1">
                  <c:v>5.9685044594350676E-3</c:v>
                </c:pt>
                <c:pt idx="2">
                  <c:v>6.6868987266284804E-2</c:v>
                </c:pt>
                <c:pt idx="3">
                  <c:v>4.5397089904368658E-2</c:v>
                </c:pt>
                <c:pt idx="4">
                  <c:v>0.24010154022907118</c:v>
                </c:pt>
                <c:pt idx="5">
                  <c:v>0.2528652822142621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4491714220894009E-2</c:v>
                </c:pt>
                <c:pt idx="3">
                  <c:v>1.6560017659860433E-2</c:v>
                </c:pt>
                <c:pt idx="4">
                  <c:v>3.3094145138892965E-2</c:v>
                </c:pt>
                <c:pt idx="5">
                  <c:v>4.68202193156547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384040264905088E-6</c:v>
                </c:pt>
                <c:pt idx="2">
                  <c:v>3.0806301073427253E-5</c:v>
                </c:pt>
                <c:pt idx="3">
                  <c:v>2.0306982843779693E-2</c:v>
                </c:pt>
                <c:pt idx="4">
                  <c:v>4.38007718979637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9029325427327589E-3</c:v>
                </c:pt>
                <c:pt idx="1">
                  <c:v>1.943242272103221E-3</c:v>
                </c:pt>
                <c:pt idx="2">
                  <c:v>7.4419440261301387E-3</c:v>
                </c:pt>
                <c:pt idx="3">
                  <c:v>3.1907385396832522E-2</c:v>
                </c:pt>
                <c:pt idx="4">
                  <c:v>6.5740530272590691E-2</c:v>
                </c:pt>
                <c:pt idx="5">
                  <c:v>8.23894708439534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4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6705518922463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7.4220041840183384E-4</c:v>
                </c:pt>
                <c:pt idx="2">
                  <c:v>6.1995792445291235E-2</c:v>
                </c:pt>
                <c:pt idx="3">
                  <c:v>3.2848087998600943E-2</c:v>
                </c:pt>
                <c:pt idx="4">
                  <c:v>0.29327202715026929</c:v>
                </c:pt>
                <c:pt idx="5">
                  <c:v>0.193072582539631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2.8323074475378015E-6</c:v>
                </c:pt>
                <c:pt idx="3">
                  <c:v>2.1861107551566051E-2</c:v>
                </c:pt>
                <c:pt idx="4">
                  <c:v>4.57410598137033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91222495276866E-2</c:v>
                </c:pt>
                <c:pt idx="3">
                  <c:v>1.3676815514038248E-2</c:v>
                </c:pt>
                <c:pt idx="4">
                  <c:v>2.1887732286704806E-2</c:v>
                </c:pt>
                <c:pt idx="5">
                  <c:v>4.4979926830942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26427056801026E-3</c:v>
                </c:pt>
                <c:pt idx="2">
                  <c:v>8.3330717890754934E-3</c:v>
                </c:pt>
                <c:pt idx="3">
                  <c:v>4.6281910346014643E-2</c:v>
                </c:pt>
                <c:pt idx="4">
                  <c:v>8.162191678381811E-2</c:v>
                </c:pt>
                <c:pt idx="5">
                  <c:v>8.95601952235319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3014811570907</c:v>
                </c:pt>
                <c:pt idx="4">
                  <c:v>3.1886401699219143E-2</c:v>
                </c:pt>
                <c:pt idx="5">
                  <c:v>0.452583450185071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682222764157067E-3</c:v>
                </c:pt>
                <c:pt idx="1">
                  <c:v>7.8945305898618591E-4</c:v>
                </c:pt>
                <c:pt idx="2">
                  <c:v>9.0252103185351429E-2</c:v>
                </c:pt>
                <c:pt idx="3">
                  <c:v>0.1171313557101295</c:v>
                </c:pt>
                <c:pt idx="4">
                  <c:v>0.39028051997850438</c:v>
                </c:pt>
                <c:pt idx="5">
                  <c:v>0.40047834579061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47443072860634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4034689622338669E-2</c:v>
                </c:pt>
                <c:pt idx="3">
                  <c:v>4.6417954837924109E-2</c:v>
                </c:pt>
                <c:pt idx="4">
                  <c:v>0.22957245323304334</c:v>
                </c:pt>
                <c:pt idx="5">
                  <c:v>0.256970278131396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3.7425965099852465E-2</c:v>
                </c:pt>
                <c:pt idx="3">
                  <c:v>2.5716030958083742E-2</c:v>
                </c:pt>
                <c:pt idx="4">
                  <c:v>6.3358470524081029E-2</c:v>
                </c:pt>
                <c:pt idx="5">
                  <c:v>6.548908906732785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499612122524087E-2</c:v>
                </c:pt>
                <c:pt idx="4">
                  <c:v>5.529659623155293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682222764157067E-3</c:v>
                </c:pt>
                <c:pt idx="1">
                  <c:v>7.8945305898618591E-4</c:v>
                </c:pt>
                <c:pt idx="2">
                  <c:v>8.7914484631603004E-3</c:v>
                </c:pt>
                <c:pt idx="3">
                  <c:v>1.4497757791597572E-2</c:v>
                </c:pt>
                <c:pt idx="4">
                  <c:v>4.2052999989827082E-2</c:v>
                </c:pt>
                <c:pt idx="5">
                  <c:v>6.32746713058247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65385076760837E-2</c:v>
                </c:pt>
                <c:pt idx="1">
                  <c:v>6.769019309011845E-2</c:v>
                </c:pt>
                <c:pt idx="2">
                  <c:v>0.2155827171638198</c:v>
                </c:pt>
                <c:pt idx="3">
                  <c:v>0.48406983154121125</c:v>
                </c:pt>
                <c:pt idx="4">
                  <c:v>0.20698825809317256</c:v>
                </c:pt>
                <c:pt idx="5">
                  <c:v>1.05036150349171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9058219281063743E-6</c:v>
                </c:pt>
                <c:pt idx="1">
                  <c:v>5.3916062506433514E-2</c:v>
                </c:pt>
                <c:pt idx="2">
                  <c:v>8.8341671237807076E-2</c:v>
                </c:pt>
                <c:pt idx="3">
                  <c:v>0.15680298312130952</c:v>
                </c:pt>
                <c:pt idx="4">
                  <c:v>7.5012050250260628E-2</c:v>
                </c:pt>
                <c:pt idx="5">
                  <c:v>1.59868148342562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470653653372523E-2</c:v>
                </c:pt>
                <c:pt idx="4">
                  <c:v>6.9302417226503557E-2</c:v>
                </c:pt>
                <c:pt idx="5">
                  <c:v>3.042306869661903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4.5146415757424413E-4</c:v>
                </c:pt>
                <c:pt idx="2">
                  <c:v>7.2993842713101734E-2</c:v>
                </c:pt>
                <c:pt idx="3">
                  <c:v>3.2530170288126242E-2</c:v>
                </c:pt>
                <c:pt idx="4">
                  <c:v>1.62527038158477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62479254832733E-2</c:v>
                </c:pt>
                <c:pt idx="1">
                  <c:v>1.3322666426110685E-2</c:v>
                </c:pt>
                <c:pt idx="2">
                  <c:v>5.4247203212910995E-2</c:v>
                </c:pt>
                <c:pt idx="3">
                  <c:v>0.21003014159805025</c:v>
                </c:pt>
                <c:pt idx="4">
                  <c:v>4.6421086800560667E-2</c:v>
                </c:pt>
                <c:pt idx="5">
                  <c:v>5.862626681829573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1</c:v>
                </c:pt>
                <c:pt idx="5">
                  <c:v>1.38875553642803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3898806779292177E-6</c:v>
                </c:pt>
                <c:pt idx="1">
                  <c:v>3.3256611750207041E-2</c:v>
                </c:pt>
                <c:pt idx="2">
                  <c:v>6.6171918699067203E-2</c:v>
                </c:pt>
                <c:pt idx="3">
                  <c:v>0.14902085782732866</c:v>
                </c:pt>
                <c:pt idx="4">
                  <c:v>7.41689153756588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354382219192336E-2</c:v>
                </c:pt>
                <c:pt idx="4">
                  <c:v>7.8275086191821081E-2</c:v>
                </c:pt>
                <c:pt idx="5">
                  <c:v>3.984253334131555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5398160212401056E-4</c:v>
                </c:pt>
                <c:pt idx="2">
                  <c:v>7.2726081771241943E-2</c:v>
                </c:pt>
                <c:pt idx="3">
                  <c:v>4.416413057141879E-2</c:v>
                </c:pt>
                <c:pt idx="4">
                  <c:v>1.33865466545600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363996675507241E-2</c:v>
                </c:pt>
                <c:pt idx="1">
                  <c:v>1.2544411333323277E-2</c:v>
                </c:pt>
                <c:pt idx="2">
                  <c:v>5.7655972142392473E-2</c:v>
                </c:pt>
                <c:pt idx="3">
                  <c:v>0.22249126397627481</c:v>
                </c:pt>
                <c:pt idx="4">
                  <c:v>6.6276897964923975E-2</c:v>
                </c:pt>
                <c:pt idx="5">
                  <c:v>9.903302030148813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301996601009916E-2</c:v>
                </c:pt>
                <c:pt idx="1">
                  <c:v>7.1126025878935378E-2</c:v>
                </c:pt>
                <c:pt idx="2">
                  <c:v>0.23033524417359652</c:v>
                </c:pt>
                <c:pt idx="3">
                  <c:v>0.46134285060537805</c:v>
                </c:pt>
                <c:pt idx="4">
                  <c:v>0.19716732528025699</c:v>
                </c:pt>
                <c:pt idx="5">
                  <c:v>1.47265574608231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51552710585296213</c:v>
                </c:pt>
                <c:pt idx="5">
                  <c:v>9.479040304578757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240659663272917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121405586234327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3.0422627469104379E-6</c:v>
                </c:pt>
                <c:pt idx="4">
                  <c:v>3.1886401699219143E-2</c:v>
                </c:pt>
                <c:pt idx="5">
                  <c:v>0.1215865221885597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10031436665925586</c:v>
                </c:pt>
                <c:pt idx="4">
                  <c:v>7.9905011925908903E-2</c:v>
                </c:pt>
                <c:pt idx="5">
                  <c:v>3.250143911872785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6545613513717854E-2</c:v>
                </c:pt>
                <c:pt idx="2">
                  <c:v>7.6199858221541197E-2</c:v>
                </c:pt>
                <c:pt idx="3">
                  <c:v>9.8270150594074693E-2</c:v>
                </c:pt>
                <c:pt idx="4">
                  <c:v>5.834866022849737E-2</c:v>
                </c:pt>
                <c:pt idx="5">
                  <c:v>4.1082753755869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1747138792427803E-2</c:v>
                </c:pt>
                <c:pt idx="2">
                  <c:v>5.2075568517397058E-2</c:v>
                </c:pt>
                <c:pt idx="3">
                  <c:v>8.5923322855900236E-2</c:v>
                </c:pt>
                <c:pt idx="4">
                  <c:v>2.3717506296066459E-2</c:v>
                </c:pt>
                <c:pt idx="5">
                  <c:v>7.309045101369602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5301996601009916E-2</c:v>
                </c:pt>
                <c:pt idx="1">
                  <c:v>2.8332735727897144E-3</c:v>
                </c:pt>
                <c:pt idx="2">
                  <c:v>0.10205981743465826</c:v>
                </c:pt>
                <c:pt idx="3">
                  <c:v>0.17683501049614725</c:v>
                </c:pt>
                <c:pt idx="4">
                  <c:v>3.5196146829784253E-2</c:v>
                </c:pt>
                <c:pt idx="5">
                  <c:v>5.90930719938637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810004802424E-3</c:v>
                </c:pt>
                <c:pt idx="2">
                  <c:v>6.5371844667268725E-2</c:v>
                </c:pt>
                <c:pt idx="3">
                  <c:v>0.18285905725428619</c:v>
                </c:pt>
                <c:pt idx="4">
                  <c:v>0.5880937669185049</c:v>
                </c:pt>
                <c:pt idx="5">
                  <c:v>0.1576957924175024</c:v>
                </c:pt>
                <c:pt idx="6">
                  <c:v>3.970535465747346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1154772587513647E-5</c:v>
                </c:pt>
                <c:pt idx="2">
                  <c:v>2.4233718295497964E-2</c:v>
                </c:pt>
                <c:pt idx="3">
                  <c:v>9.3817259810823811E-2</c:v>
                </c:pt>
                <c:pt idx="4">
                  <c:v>0.2514701287433227</c:v>
                </c:pt>
                <c:pt idx="5">
                  <c:v>7.8216082905107454E-2</c:v>
                </c:pt>
                <c:pt idx="6">
                  <c:v>3.803331031781629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3524199763315763E-4</c:v>
                </c:pt>
                <c:pt idx="2">
                  <c:v>3.3481108169054898E-2</c:v>
                </c:pt>
                <c:pt idx="3">
                  <c:v>4.901000674680546E-2</c:v>
                </c:pt>
                <c:pt idx="4">
                  <c:v>0.15644648476342674</c:v>
                </c:pt>
                <c:pt idx="5">
                  <c:v>8.836832456448871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398713891251741E-3</c:v>
                </c:pt>
                <c:pt idx="3">
                  <c:v>2.3555383845134243E-2</c:v>
                </c:pt>
                <c:pt idx="4">
                  <c:v>4.9830623433737023E-2</c:v>
                </c:pt>
                <c:pt idx="5">
                  <c:v>6.950786268319173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5.5171468135906962E-3</c:v>
                </c:pt>
                <c:pt idx="3">
                  <c:v>1.6476406851522699E-2</c:v>
                </c:pt>
                <c:pt idx="4">
                  <c:v>0.13034652997801841</c:v>
                </c:pt>
                <c:pt idx="5">
                  <c:v>6.9947798429114166E-2</c:v>
                </c:pt>
                <c:pt idx="6">
                  <c:v>1.672044339657164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22</c:v>
                </c:pt>
                <c:pt idx="4">
                  <c:v>0.56644603950565164</c:v>
                </c:pt>
                <c:pt idx="5">
                  <c:v>0.19549927143426438</c:v>
                </c:pt>
                <c:pt idx="6">
                  <c:v>8.1053550458520243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6660861855259E-2</c:v>
                </c:pt>
                <c:pt idx="3">
                  <c:v>5.5424375919261658E-2</c:v>
                </c:pt>
                <c:pt idx="4">
                  <c:v>0.20615380813581238</c:v>
                </c:pt>
                <c:pt idx="5">
                  <c:v>0.1052574180958061</c:v>
                </c:pt>
                <c:pt idx="6">
                  <c:v>5.182356240399011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0567911570269795E-5</c:v>
                </c:pt>
                <c:pt idx="2">
                  <c:v>3.2908010742209462E-2</c:v>
                </c:pt>
                <c:pt idx="3">
                  <c:v>5.2867011871372105E-2</c:v>
                </c:pt>
                <c:pt idx="4">
                  <c:v>0.16366770150492665</c:v>
                </c:pt>
                <c:pt idx="5">
                  <c:v>7.836428086334947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155196105875398E-3</c:v>
                </c:pt>
                <c:pt idx="3">
                  <c:v>2.361021788117313E-2</c:v>
                </c:pt>
                <c:pt idx="4">
                  <c:v>3.7662743498810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2685386025406056E-3</c:v>
                </c:pt>
                <c:pt idx="3">
                  <c:v>1.42372502267753E-2</c:v>
                </c:pt>
                <c:pt idx="4">
                  <c:v>0.15896178636610173</c:v>
                </c:pt>
                <c:pt idx="5">
                  <c:v>8.2405425252123327E-2</c:v>
                </c:pt>
                <c:pt idx="6">
                  <c:v>2.92299880545301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942843330246545E-3</c:v>
                </c:pt>
                <c:pt idx="2">
                  <c:v>9.7506639456964889E-2</c:v>
                </c:pt>
                <c:pt idx="3">
                  <c:v>0.19168329326666833</c:v>
                </c:pt>
                <c:pt idx="4">
                  <c:v>0.56953386976592013</c:v>
                </c:pt>
                <c:pt idx="5">
                  <c:v>0.10787061450752936</c:v>
                </c:pt>
                <c:pt idx="6">
                  <c:v>3.011129866989259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4406965773053822E-2</c:v>
                </c:pt>
                <c:pt idx="3">
                  <c:v>7.0783552492644994E-2</c:v>
                </c:pt>
                <c:pt idx="4">
                  <c:v>0.2113977210367366</c:v>
                </c:pt>
                <c:pt idx="5">
                  <c:v>8.824129259378211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40842534406015E-2</c:v>
                </c:pt>
                <c:pt idx="3">
                  <c:v>8.9066615826644796E-2</c:v>
                </c:pt>
                <c:pt idx="4">
                  <c:v>0.19051496396025755</c:v>
                </c:pt>
                <c:pt idx="5">
                  <c:v>5.8069732131064318E-2</c:v>
                </c:pt>
                <c:pt idx="6">
                  <c:v>3.011129866989259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6460916667349466E-7</c:v>
                </c:pt>
                <c:pt idx="3">
                  <c:v>2.5167157857670375E-2</c:v>
                </c:pt>
                <c:pt idx="4">
                  <c:v>7.87349897115901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2942843330246545E-3</c:v>
                </c:pt>
                <c:pt idx="2">
                  <c:v>6.9088373068423446E-4</c:v>
                </c:pt>
                <c:pt idx="3">
                  <c:v>6.6659670897081663E-3</c:v>
                </c:pt>
                <c:pt idx="4">
                  <c:v>8.8886195057335859E-2</c:v>
                </c:pt>
                <c:pt idx="5">
                  <c:v>4.0976753117086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8E-2</c:v>
                </c:pt>
                <c:pt idx="4">
                  <c:v>0.89021699739939097</c:v>
                </c:pt>
                <c:pt idx="5">
                  <c:v>7.28159513002154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34087797771166439</c:v>
                </c:pt>
                <c:pt idx="5">
                  <c:v>1.3004613954895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10353675491168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1.1224575664137333E-3</c:v>
                </c:pt>
                <c:pt idx="4">
                  <c:v>0.16484119757410542</c:v>
                </c:pt>
                <c:pt idx="5">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365210675183357E-3</c:v>
                </c:pt>
                <c:pt idx="2">
                  <c:v>4.8498062295447069E-3</c:v>
                </c:pt>
                <c:pt idx="3">
                  <c:v>2.9491676630130272E-2</c:v>
                </c:pt>
                <c:pt idx="4">
                  <c:v>0.20346245456450432</c:v>
                </c:pt>
                <c:pt idx="5">
                  <c:v>4.13852558278645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2E-2</c:v>
                </c:pt>
                <c:pt idx="4">
                  <c:v>0.83839550714659039</c:v>
                </c:pt>
                <c:pt idx="5">
                  <c:v>0.1247227947512141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8.671674918966323E-5</c:v>
                </c:pt>
                <c:pt idx="4">
                  <c:v>0.20472408778743872</c:v>
                </c:pt>
                <c:pt idx="5">
                  <c:v>1.60999982988395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6134030379639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7811388833158634</c:v>
                </c:pt>
                <c:pt idx="5">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1095190109692449E-4</c:v>
                </c:pt>
                <c:pt idx="1">
                  <c:v>1.4491880932194251E-3</c:v>
                </c:pt>
                <c:pt idx="2">
                  <c:v>4.4576960941318028E-3</c:v>
                </c:pt>
                <c:pt idx="3">
                  <c:v>3.0277145264557642E-2</c:v>
                </c:pt>
                <c:pt idx="4">
                  <c:v>0.26942350064792608</c:v>
                </c:pt>
                <c:pt idx="5">
                  <c:v>8.788349064695438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6124875882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754454081973494</c:v>
                </c:pt>
                <c:pt idx="5">
                  <c:v>2.2765783682231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700735214488155</c:v>
                </c:pt>
                <c:pt idx="5">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3253304601556915E-2</c:v>
                </c:pt>
                <c:pt idx="4">
                  <c:v>0.16065304457669638</c:v>
                </c:pt>
                <c:pt idx="5">
                  <c:v>4.33943845516836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177561024199167E-3</c:v>
                </c:pt>
                <c:pt idx="1">
                  <c:v>3.2027653167575096E-2</c:v>
                </c:pt>
                <c:pt idx="2">
                  <c:v>2.3524044420734705E-3</c:v>
                </c:pt>
                <c:pt idx="3">
                  <c:v>0.38242026159328435</c:v>
                </c:pt>
                <c:pt idx="4">
                  <c:v>0.56747496286225174</c:v>
                </c:pt>
                <c:pt idx="5">
                  <c:v>1.44069618323955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19687086370011E-2</c:v>
                </c:pt>
                <c:pt idx="1">
                  <c:v>0.15610494674537898</c:v>
                </c:pt>
                <c:pt idx="2">
                  <c:v>2.4983151768837048E-2</c:v>
                </c:pt>
                <c:pt idx="3">
                  <c:v>0.33241322699595138</c:v>
                </c:pt>
                <c:pt idx="4">
                  <c:v>0.44155358609005096</c:v>
                </c:pt>
                <c:pt idx="5">
                  <c:v>1.54219990674024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5.6035520196260737E-3</c:v>
                </c:pt>
                <c:pt idx="1">
                  <c:v>4.9202344845834682E-2</c:v>
                </c:pt>
                <c:pt idx="2">
                  <c:v>1.350622767108383E-2</c:v>
                </c:pt>
                <c:pt idx="3">
                  <c:v>0.12289874928884116</c:v>
                </c:pt>
                <c:pt idx="4">
                  <c:v>0.18570195668086406</c:v>
                </c:pt>
                <c:pt idx="5">
                  <c:v>4.015851442184035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2174329166919292E-2</c:v>
                </c:pt>
                <c:pt idx="3">
                  <c:v>6.7871990969487928E-2</c:v>
                </c:pt>
                <c:pt idx="4">
                  <c:v>4.07556553417644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494860494824936E-3</c:v>
                </c:pt>
                <c:pt idx="3">
                  <c:v>4.7289504177559748E-2</c:v>
                </c:pt>
                <c:pt idx="4">
                  <c:v>6.1367839635894476E-3</c:v>
                </c:pt>
                <c:pt idx="5">
                  <c:v>6.02506469185837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3916135066743938E-2</c:v>
                </c:pt>
                <c:pt idx="1">
                  <c:v>7.223341223780004E-2</c:v>
                </c:pt>
                <c:pt idx="2">
                  <c:v>1.1476924097753218E-2</c:v>
                </c:pt>
                <c:pt idx="3">
                  <c:v>9.4352982560062582E-2</c:v>
                </c:pt>
                <c:pt idx="4">
                  <c:v>0.24563927991142095</c:v>
                </c:pt>
                <c:pt idx="5">
                  <c:v>1.08036411560326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295936018988206E-2</c:v>
                </c:pt>
                <c:pt idx="1">
                  <c:v>0.15937207117371921</c:v>
                </c:pt>
                <c:pt idx="2">
                  <c:v>3.7684488257838142E-2</c:v>
                </c:pt>
                <c:pt idx="3">
                  <c:v>0.26112921429863639</c:v>
                </c:pt>
                <c:pt idx="4">
                  <c:v>0.46450291190561643</c:v>
                </c:pt>
                <c:pt idx="5">
                  <c:v>1.43512567817688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9026544909140497E-2</c:v>
                </c:pt>
                <c:pt idx="1">
                  <c:v>4.9076295754269951E-2</c:v>
                </c:pt>
                <c:pt idx="2">
                  <c:v>1.8743264202139311E-2</c:v>
                </c:pt>
                <c:pt idx="3">
                  <c:v>8.2009121296644588E-2</c:v>
                </c:pt>
                <c:pt idx="4">
                  <c:v>0.17396774269164286</c:v>
                </c:pt>
                <c:pt idx="5">
                  <c:v>4.31893776128825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2.5508156852576954E-2</c:v>
                </c:pt>
                <c:pt idx="3">
                  <c:v>5.3635720081493594E-2</c:v>
                </c:pt>
                <c:pt idx="4">
                  <c:v>7.056146546709267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7297754491382299E-3</c:v>
                </c:pt>
                <c:pt idx="3">
                  <c:v>4.0675177882420498E-2</c:v>
                </c:pt>
                <c:pt idx="4">
                  <c:v>3.3293519810025716E-3</c:v>
                </c:pt>
                <c:pt idx="5">
                  <c:v>4.933127100601478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3.393281528074156E-2</c:v>
                </c:pt>
                <c:pt idx="1">
                  <c:v>8.3057843117734051E-2</c:v>
                </c:pt>
                <c:pt idx="2">
                  <c:v>1.8941224055698834E-2</c:v>
                </c:pt>
                <c:pt idx="3">
                  <c:v>8.4809195038077698E-2</c:v>
                </c:pt>
                <c:pt idx="4">
                  <c:v>0.28014967068626173</c:v>
                </c:pt>
                <c:pt idx="5">
                  <c:v>9.53900631042043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244581526303865E-3</c:v>
                </c:pt>
                <c:pt idx="1">
                  <c:v>0.13194345924355352</c:v>
                </c:pt>
                <c:pt idx="2">
                  <c:v>1.9551950596549565E-2</c:v>
                </c:pt>
                <c:pt idx="3">
                  <c:v>0.39058342036370747</c:v>
                </c:pt>
                <c:pt idx="4">
                  <c:v>0.44053261070710614</c:v>
                </c:pt>
                <c:pt idx="5">
                  <c:v>1.5664100936453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4.8520767603681979E-2</c:v>
                </c:pt>
                <c:pt idx="2">
                  <c:v>1.3246838271277345E-2</c:v>
                </c:pt>
                <c:pt idx="3">
                  <c:v>0.15771842037298539</c:v>
                </c:pt>
                <c:pt idx="4">
                  <c:v>0.20309622610094757</c:v>
                </c:pt>
                <c:pt idx="5">
                  <c:v>7.977731807671617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2579824888870743E-2</c:v>
                </c:pt>
                <c:pt idx="3">
                  <c:v>7.528890401107825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4261093146482451E-3</c:v>
                </c:pt>
                <c:pt idx="3">
                  <c:v>5.8842516548985181E-2</c:v>
                </c:pt>
                <c:pt idx="4">
                  <c:v>7.5134948389905748E-3</c:v>
                </c:pt>
                <c:pt idx="5">
                  <c:v>4.242488242675826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7244581526303867E-3</c:v>
                </c:pt>
                <c:pt idx="1">
                  <c:v>3.7416757436352553E-2</c:v>
                </c:pt>
                <c:pt idx="2">
                  <c:v>6.3051123252722205E-3</c:v>
                </c:pt>
                <c:pt idx="3">
                  <c:v>9.8733579430658566E-2</c:v>
                </c:pt>
                <c:pt idx="4">
                  <c:v>0.22992288976716796</c:v>
                </c:pt>
                <c:pt idx="5">
                  <c:v>7.262120304513810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3.6449891212230411E-3</c:v>
                </c:pt>
                <c:pt idx="3">
                  <c:v>1.7075224275874532E-3</c:v>
                </c:pt>
                <c:pt idx="4">
                  <c:v>6.3086798193432827E-3</c:v>
                </c:pt>
                <c:pt idx="5">
                  <c:v>3.134661749438467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354793958657659E-2</c:v>
                </c:pt>
                <c:pt idx="1">
                  <c:v>4.280378181887369E-2</c:v>
                </c:pt>
                <c:pt idx="2">
                  <c:v>6.2074046562050726E-2</c:v>
                </c:pt>
                <c:pt idx="3">
                  <c:v>8.9270192178144317E-2</c:v>
                </c:pt>
                <c:pt idx="4">
                  <c:v>0.17577539408158835</c:v>
                </c:pt>
                <c:pt idx="5">
                  <c:v>7.3056450349395161E-2</c:v>
                </c:pt>
                <c:pt idx="6">
                  <c:v>7.54898608072308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7.3978607016716839E-4</c:v>
                </c:pt>
                <c:pt idx="1">
                  <c:v>3.4062515141631768E-3</c:v>
                </c:pt>
                <c:pt idx="2">
                  <c:v>1.1114459155546159E-2</c:v>
                </c:pt>
                <c:pt idx="3">
                  <c:v>1.7810267475437347E-2</c:v>
                </c:pt>
                <c:pt idx="4">
                  <c:v>2.0645914855655825E-2</c:v>
                </c:pt>
                <c:pt idx="5">
                  <c:v>3.059524044168909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2.334197728886322E-6</c:v>
                </c:pt>
                <c:pt idx="1">
                  <c:v>3.4884981873106265E-5</c:v>
                </c:pt>
                <c:pt idx="2">
                  <c:v>3.4840141146249642E-3</c:v>
                </c:pt>
                <c:pt idx="3">
                  <c:v>5.09993738563149E-3</c:v>
                </c:pt>
                <c:pt idx="4">
                  <c:v>1.6994494245997117E-2</c:v>
                </c:pt>
                <c:pt idx="5">
                  <c:v>1.754244455815245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830903551341512E-2</c:v>
                </c:pt>
                <c:pt idx="1">
                  <c:v>2.7478109550070948E-2</c:v>
                </c:pt>
                <c:pt idx="2">
                  <c:v>4.7344507967206795E-2</c:v>
                </c:pt>
                <c:pt idx="3">
                  <c:v>0.12036445121715796</c:v>
                </c:pt>
                <c:pt idx="4">
                  <c:v>0.16306284761656531</c:v>
                </c:pt>
                <c:pt idx="5">
                  <c:v>7.2589236755731451E-2</c:v>
                </c:pt>
                <c:pt idx="6">
                  <c:v>1.052745428232668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0625455076117907E-6</c:v>
                </c:pt>
                <c:pt idx="2">
                  <c:v>1.1891880959988901E-3</c:v>
                </c:pt>
                <c:pt idx="3">
                  <c:v>0.23738123807631398</c:v>
                </c:pt>
                <c:pt idx="4">
                  <c:v>0.3111692615882069</c:v>
                </c:pt>
                <c:pt idx="5">
                  <c:v>1.13116883257654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1.6045150282728384E-6</c:v>
                </c:pt>
                <c:pt idx="3">
                  <c:v>8.9261738246863231E-2</c:v>
                </c:pt>
                <c:pt idx="4">
                  <c:v>0.1546508387035381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1.1195949308392695E-6</c:v>
                </c:pt>
                <c:pt idx="3">
                  <c:v>5.1722718580729009E-3</c:v>
                </c:pt>
                <c:pt idx="4">
                  <c:v>3.69121035542874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3139694469531929E-3</c:v>
                </c:pt>
                <c:pt idx="1">
                  <c:v>3.2027653167575096E-2</c:v>
                </c:pt>
                <c:pt idx="2">
                  <c:v>1.1632163460745804E-3</c:v>
                </c:pt>
                <c:pt idx="3">
                  <c:v>5.0605013412034154E-2</c:v>
                </c:pt>
                <c:pt idx="4">
                  <c:v>6.4742759016219203E-2</c:v>
                </c:pt>
                <c:pt idx="5">
                  <c:v>1.327579299981898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338356994032058E-4</c:v>
                </c:pt>
                <c:pt idx="1">
                  <c:v>1.9618191826917E-2</c:v>
                </c:pt>
                <c:pt idx="2">
                  <c:v>7.402755160323117E-4</c:v>
                </c:pt>
                <c:pt idx="3">
                  <c:v>0.32972950609608248</c:v>
                </c:pt>
                <c:pt idx="4">
                  <c:v>0.6455594961322717</c:v>
                </c:pt>
                <c:pt idx="5">
                  <c:v>3.63914685875637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3728694740785775</c:v>
                </c:pt>
                <c:pt idx="4">
                  <c:v>0.273528499142100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1.2928820236534203E-5</c:v>
                </c:pt>
                <c:pt idx="3">
                  <c:v>5.3712525096276616E-2</c:v>
                </c:pt>
                <c:pt idx="4">
                  <c:v>0.2029274871315142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9982796049871918E-3</c:v>
                </c:pt>
                <c:pt idx="4">
                  <c:v>9.26966531019400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0045474970378634E-4</c:v>
                </c:pt>
                <c:pt idx="1">
                  <c:v>1.9618191826917E-2</c:v>
                </c:pt>
                <c:pt idx="2">
                  <c:v>7.402755160323117E-4</c:v>
                </c:pt>
                <c:pt idx="3">
                  <c:v>3.5731753986960851E-2</c:v>
                </c:pt>
                <c:pt idx="4">
                  <c:v>7.6406856756716379E-2</c:v>
                </c:pt>
                <c:pt idx="5">
                  <c:v>3.63914685875637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8965406986938915E-3</c:v>
                </c:pt>
                <c:pt idx="1">
                  <c:v>4.8952596641094387E-2</c:v>
                </c:pt>
                <c:pt idx="2">
                  <c:v>2.2539736883549011E-3</c:v>
                </c:pt>
                <c:pt idx="3">
                  <c:v>0.47501720035688511</c:v>
                </c:pt>
                <c:pt idx="4">
                  <c:v>0.45597700238592082</c:v>
                </c:pt>
                <c:pt idx="5">
                  <c:v>1.59026862290508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5629209471854381</c:v>
                </c:pt>
                <c:pt idx="4">
                  <c:v>0.203371980478097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0.16547609369401287</c:v>
                </c:pt>
                <c:pt idx="4">
                  <c:v>0.1990426354550754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3678656898886154E-2</c:v>
                </c:pt>
                <c:pt idx="3">
                  <c:v>2.4418328887488249E-2</c:v>
                </c:pt>
                <c:pt idx="4">
                  <c:v>9.6012105353074084E-3</c:v>
                </c:pt>
                <c:pt idx="5">
                  <c:v>4.12643060585177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8965406986938915E-3</c:v>
                </c:pt>
                <c:pt idx="1">
                  <c:v>1.5273939742208233E-2</c:v>
                </c:pt>
                <c:pt idx="2">
                  <c:v>2.2539736883549011E-3</c:v>
                </c:pt>
                <c:pt idx="3">
                  <c:v>2.8830683056840205E-2</c:v>
                </c:pt>
                <c:pt idx="4">
                  <c:v>4.3961175917440115E-2</c:v>
                </c:pt>
                <c:pt idx="5">
                  <c:v>1.17762556231990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5950000000000001</c:v>
                </c:pt>
                <c:pt idx="3">
                  <c:v>0.1216</c:v>
                </c:pt>
                <c:pt idx="4">
                  <c:v>0.4224</c:v>
                </c:pt>
                <c:pt idx="5">
                  <c:v>0.1963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2332068254325133E-2</c:v>
                </c:pt>
                <c:pt idx="3">
                  <c:v>2.4515348950153868E-2</c:v>
                </c:pt>
                <c:pt idx="4">
                  <c:v>8.5179748515055095E-2</c:v>
                </c:pt>
                <c:pt idx="5">
                  <c:v>3.96119252888557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318942391174119E-2</c:v>
                </c:pt>
                <c:pt idx="2">
                  <c:v>5.5137933884248834E-2</c:v>
                </c:pt>
                <c:pt idx="3">
                  <c:v>3.4736686526628133E-2</c:v>
                </c:pt>
                <c:pt idx="4">
                  <c:v>6.7670136525075128E-2</c:v>
                </c:pt>
                <c:pt idx="5">
                  <c:v>1.347828842525293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4008489523505575E-3</c:v>
                </c:pt>
                <c:pt idx="2">
                  <c:v>3.50331077300279E-2</c:v>
                </c:pt>
                <c:pt idx="3">
                  <c:v>8.9897595634951935E-2</c:v>
                </c:pt>
                <c:pt idx="4">
                  <c:v>4.4531214209419481E-2</c:v>
                </c:pt>
                <c:pt idx="5">
                  <c:v>7.182365481905159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9.2319754154723752E-3</c:v>
                </c:pt>
                <c:pt idx="2">
                  <c:v>8.4636514937475538E-2</c:v>
                </c:pt>
                <c:pt idx="3">
                  <c:v>3.6302405295432915E-3</c:v>
                </c:pt>
                <c:pt idx="4">
                  <c:v>7.7622155573860915E-2</c:v>
                </c:pt>
                <c:pt idx="5">
                  <c:v>1.01307663290237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3.2379405637028937E-3</c:v>
                </c:pt>
                <c:pt idx="3">
                  <c:v>5.3555300874040423E-8</c:v>
                </c:pt>
                <c:pt idx="4">
                  <c:v>6.056982090355767E-2</c:v>
                </c:pt>
                <c:pt idx="5">
                  <c:v>3.804826378229832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2890000000000003</c:v>
                </c:pt>
                <c:pt idx="3">
                  <c:v>8.0799999999999997E-2</c:v>
                </c:pt>
                <c:pt idx="4">
                  <c:v>0.33789999999999998</c:v>
                </c:pt>
                <c:pt idx="5">
                  <c:v>0.252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5349999999999998</c:v>
                </c:pt>
                <c:pt idx="3">
                  <c:v>8.6800000000000002E-2</c:v>
                </c:pt>
                <c:pt idx="4">
                  <c:v>0.32240000000000002</c:v>
                </c:pt>
                <c:pt idx="5">
                  <c:v>0.237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599</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7.8700417513986307E-2</c:v>
                </c:pt>
                <c:pt idx="3">
                  <c:v>1.932140439824797E-2</c:v>
                </c:pt>
                <c:pt idx="4">
                  <c:v>7.1782763875395186E-2</c:v>
                </c:pt>
                <c:pt idx="5">
                  <c:v>5.28471806365719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0.13883172631490734</c:v>
                </c:pt>
                <c:pt idx="2">
                  <c:v>6.85733513406976E-2</c:v>
                </c:pt>
                <c:pt idx="3">
                  <c:v>8.5199533734594043E-3</c:v>
                </c:pt>
                <c:pt idx="4">
                  <c:v>8.5279185241007888E-2</c:v>
                </c:pt>
                <c:pt idx="5">
                  <c:v>1.8039325530002339E-2</c:v>
                </c:pt>
                <c:pt idx="6">
                  <c:v>2.465358830036394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0467504009943729E-2</c:v>
                </c:pt>
                <c:pt idx="2">
                  <c:v>4.2645548657318455E-2</c:v>
                </c:pt>
                <c:pt idx="3">
                  <c:v>9.0446099607501371E-2</c:v>
                </c:pt>
                <c:pt idx="4">
                  <c:v>8.6482493425185485E-3</c:v>
                </c:pt>
                <c:pt idx="5">
                  <c:v>8.448408578421103E-2</c:v>
                </c:pt>
                <c:pt idx="6">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409342891010774E-7</c:v>
                </c:pt>
                <c:pt idx="4">
                  <c:v>4.4998990619535627E-2</c:v>
                </c:pt>
                <c:pt idx="5">
                  <c:v>4.196046810590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2.1142735289773985E-2</c:v>
                </c:pt>
                <c:pt idx="2">
                  <c:v>2.7218375195673633E-2</c:v>
                </c:pt>
                <c:pt idx="3">
                  <c:v>9.3865043000698322E-3</c:v>
                </c:pt>
                <c:pt idx="4">
                  <c:v>5.5698171878387624E-2</c:v>
                </c:pt>
                <c:pt idx="5">
                  <c:v>2.032478688188763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440000000000001</c:v>
                </c:pt>
                <c:pt idx="3">
                  <c:v>0.1573</c:v>
                </c:pt>
                <c:pt idx="4">
                  <c:v>0.39510000000000001</c:v>
                </c:pt>
                <c:pt idx="5">
                  <c:v>0.203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2604146335066902E-2</c:v>
                </c:pt>
                <c:pt idx="3">
                  <c:v>3.3856581368870375E-2</c:v>
                </c:pt>
                <c:pt idx="4">
                  <c:v>8.5025244020544052E-2</c:v>
                </c:pt>
                <c:pt idx="5">
                  <c:v>4.373994730233104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2.8448886650238012E-2</c:v>
                </c:pt>
                <c:pt idx="3">
                  <c:v>0.13057577620431085</c:v>
                </c:pt>
                <c:pt idx="4">
                  <c:v>1.214868734794698E-2</c:v>
                </c:pt>
                <c:pt idx="5">
                  <c:v>8.197395190802823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9.9025390559011175E-2</c:v>
                </c:pt>
                <c:pt idx="2">
                  <c:v>6.450832288352E-2</c:v>
                </c:pt>
                <c:pt idx="3">
                  <c:v>2.7784252533189901E-2</c:v>
                </c:pt>
                <c:pt idx="4">
                  <c:v>9.8743693851477465E-2</c:v>
                </c:pt>
                <c:pt idx="5">
                  <c:v>6.021413150086919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4.9450471560104646E-2</c:v>
                </c:pt>
                <c:pt idx="4">
                  <c:v>7.7421598704224021E-2</c:v>
                </c:pt>
                <c:pt idx="5">
                  <c:v>1.2176868832084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5.7323514538482452E-2</c:v>
                </c:pt>
                <c:pt idx="5">
                  <c:v>3.87943002889264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50009999999999999</c:v>
                </c:pt>
                <c:pt idx="5">
                  <c:v>0.499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89228933701E-2</c:v>
                </c:pt>
                <c:pt idx="2">
                  <c:v>4.1137747582242541E-2</c:v>
                </c:pt>
                <c:pt idx="3">
                  <c:v>0.31355241604004941</c:v>
                </c:pt>
                <c:pt idx="4">
                  <c:v>0.55220862714204089</c:v>
                </c:pt>
                <c:pt idx="5">
                  <c:v>6.27713164279378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4.3712607228510603E-3</c:v>
                </c:pt>
                <c:pt idx="5">
                  <c:v>4.369324731405162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257453978876326E-2</c:v>
                </c:pt>
                <c:pt idx="2">
                  <c:v>4.111799119349209E-2</c:v>
                </c:pt>
                <c:pt idx="3">
                  <c:v>8.3972734280447783E-2</c:v>
                </c:pt>
                <c:pt idx="4">
                  <c:v>0.14385290781045273</c:v>
                </c:pt>
                <c:pt idx="5">
                  <c:v>3.530865388191278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830171229182353E-2</c:v>
                </c:pt>
                <c:pt idx="4">
                  <c:v>0.11193663458704405</c:v>
                </c:pt>
                <c:pt idx="5">
                  <c:v>8.182288310560101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3674745414843268E-2</c:v>
                </c:pt>
                <c:pt idx="3">
                  <c:v>4.2149006879102752E-2</c:v>
                </c:pt>
                <c:pt idx="4">
                  <c:v>7.74976358425015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3806928956174173E-3</c:v>
                </c:pt>
                <c:pt idx="2">
                  <c:v>1.9756388750451621E-5</c:v>
                </c:pt>
                <c:pt idx="3">
                  <c:v>9.8600503651316521E-2</c:v>
                </c:pt>
                <c:pt idx="4">
                  <c:v>0.21455018817919141</c:v>
                </c:pt>
                <c:pt idx="5">
                  <c:v>5.021935029943376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54579999999999995</c:v>
                </c:pt>
                <c:pt idx="5">
                  <c:v>0.454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899443980434349E-2</c:v>
                </c:pt>
                <c:pt idx="1">
                  <c:v>6.9936221072548613E-2</c:v>
                </c:pt>
                <c:pt idx="2">
                  <c:v>0.12263839292931009</c:v>
                </c:pt>
                <c:pt idx="3">
                  <c:v>0.22587718069519325</c:v>
                </c:pt>
                <c:pt idx="4">
                  <c:v>0.3926880605000298</c:v>
                </c:pt>
                <c:pt idx="5">
                  <c:v>0.159579798639448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5</c:v>
                </c:pt>
                <c:pt idx="4">
                  <c:v>0.59387574108439223</c:v>
                </c:pt>
                <c:pt idx="5">
                  <c:v>5.89874561094732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7.7200506253627989E-3</c:v>
                </c:pt>
                <c:pt idx="5">
                  <c:v>6.425403785250638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462823601955515E-2</c:v>
                </c:pt>
                <c:pt idx="2">
                  <c:v>4.5630734450636229E-2</c:v>
                </c:pt>
                <c:pt idx="3">
                  <c:v>4.5197142309156488E-2</c:v>
                </c:pt>
                <c:pt idx="4">
                  <c:v>0.170315450658253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6435649394388581E-2</c:v>
                </c:pt>
                <c:pt idx="3">
                  <c:v>3.6146301740761742E-2</c:v>
                </c:pt>
                <c:pt idx="4">
                  <c:v>9.117222358311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6.7287806813729936E-2</c:v>
                </c:pt>
                <c:pt idx="4">
                  <c:v>8.2581405637886227E-2</c:v>
                </c:pt>
                <c:pt idx="5">
                  <c:v>6.92473259129919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8.9681894677747162E-3</c:v>
                </c:pt>
                <c:pt idx="2">
                  <c:v>2.2874250549976061E-6</c:v>
                </c:pt>
                <c:pt idx="3">
                  <c:v>0.11199570821874057</c:v>
                </c:pt>
                <c:pt idx="4">
                  <c:v>0.2420866105797787</c:v>
                </c:pt>
                <c:pt idx="5">
                  <c:v>5.186957906509274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35980000000000001</c:v>
                </c:pt>
                <c:pt idx="5">
                  <c:v>0.640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1325297527232E-2</c:v>
                </c:pt>
                <c:pt idx="2">
                  <c:v>6.8177130023839225E-2</c:v>
                </c:pt>
                <c:pt idx="3">
                  <c:v>0.30918181313914184</c:v>
                </c:pt>
                <c:pt idx="4">
                  <c:v>0.54895850601748686</c:v>
                </c:pt>
                <c:pt idx="5">
                  <c:v>5.88440231994877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3.0404936380131753E-3</c:v>
                </c:pt>
                <c:pt idx="5">
                  <c:v>5.409101850837309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5.7283511040786671E-3</c:v>
                </c:pt>
                <c:pt idx="2">
                  <c:v>6.8177130023839225E-2</c:v>
                </c:pt>
                <c:pt idx="3">
                  <c:v>9.3507570525918696E-2</c:v>
                </c:pt>
                <c:pt idx="4">
                  <c:v>0.1510187588802414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5.2611447523963163E-2</c:v>
                </c:pt>
                <c:pt idx="4">
                  <c:v>9.6436009581161525E-2</c:v>
                </c:pt>
                <c:pt idx="5">
                  <c:v>3.37577324345810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6414350186043658E-2</c:v>
                </c:pt>
                <c:pt idx="4">
                  <c:v>8.6260314605398097E-2</c:v>
                </c:pt>
                <c:pt idx="5">
                  <c:v>2.47616735014067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9.0029741934485649E-3</c:v>
                </c:pt>
                <c:pt idx="3">
                  <c:v>0.12664844490321636</c:v>
                </c:pt>
                <c:pt idx="4">
                  <c:v>0.21220292931267259</c:v>
                </c:pt>
                <c:pt idx="5">
                  <c:v>2.52974746037855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46000868461034E-3</c:v>
                </c:pt>
                <c:pt idx="1">
                  <c:v>7.9127851355647802E-3</c:v>
                </c:pt>
                <c:pt idx="2">
                  <c:v>9.8833451814382384E-2</c:v>
                </c:pt>
                <c:pt idx="3">
                  <c:v>0.1141714758048413</c:v>
                </c:pt>
                <c:pt idx="4">
                  <c:v>0.38273698753851865</c:v>
                </c:pt>
                <c:pt idx="5">
                  <c:v>0.393290699619846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1516675441133448E-3</c:v>
                </c:pt>
                <c:pt idx="1">
                  <c:v>5.9685044594350676E-3</c:v>
                </c:pt>
                <c:pt idx="2">
                  <c:v>6.6868987266284804E-2</c:v>
                </c:pt>
                <c:pt idx="3">
                  <c:v>4.5397089904368658E-2</c:v>
                </c:pt>
                <c:pt idx="4">
                  <c:v>0.24010154022907118</c:v>
                </c:pt>
                <c:pt idx="5">
                  <c:v>0.2528652822142621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4491714220894009E-2</c:v>
                </c:pt>
                <c:pt idx="3">
                  <c:v>1.6560017659860433E-2</c:v>
                </c:pt>
                <c:pt idx="4">
                  <c:v>3.3094145138892965E-2</c:v>
                </c:pt>
                <c:pt idx="5">
                  <c:v>4.68202193156547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384040264905088E-6</c:v>
                </c:pt>
                <c:pt idx="2">
                  <c:v>3.0806301073427253E-5</c:v>
                </c:pt>
                <c:pt idx="3">
                  <c:v>2.0306982843779693E-2</c:v>
                </c:pt>
                <c:pt idx="4">
                  <c:v>4.38007718979637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9029325427327589E-3</c:v>
                </c:pt>
                <c:pt idx="1">
                  <c:v>1.943242272103221E-3</c:v>
                </c:pt>
                <c:pt idx="2">
                  <c:v>7.4419440261301387E-3</c:v>
                </c:pt>
                <c:pt idx="3">
                  <c:v>3.1907385396832522E-2</c:v>
                </c:pt>
                <c:pt idx="4">
                  <c:v>6.5740530272590691E-2</c:v>
                </c:pt>
                <c:pt idx="5">
                  <c:v>9.360519808992996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4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1291545320060212E-3</c:v>
                </c:pt>
                <c:pt idx="3">
                  <c:v>1.504742631272532E-3</c:v>
                </c:pt>
                <c:pt idx="4">
                  <c:v>6.2959899233690619E-3</c:v>
                </c:pt>
                <c:pt idx="5">
                  <c:v>4.702969750242329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2640676305699122E-2</c:v>
                </c:pt>
                <c:pt idx="1">
                  <c:v>3.5981016482109905E-2</c:v>
                </c:pt>
                <c:pt idx="2">
                  <c:v>5.2318919373392128E-2</c:v>
                </c:pt>
                <c:pt idx="3">
                  <c:v>7.6849290596592498E-2</c:v>
                </c:pt>
                <c:pt idx="4">
                  <c:v>0.16085003388928104</c:v>
                </c:pt>
                <c:pt idx="5">
                  <c:v>6.81700283535806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7.6728159481972904E-4</c:v>
                </c:pt>
                <c:pt idx="1">
                  <c:v>4.5360771938260059E-3</c:v>
                </c:pt>
                <c:pt idx="2">
                  <c:v>1.0256986681167318E-2</c:v>
                </c:pt>
                <c:pt idx="3">
                  <c:v>1.7827923888047128E-2</c:v>
                </c:pt>
                <c:pt idx="4">
                  <c:v>1.9047227525335747E-2</c:v>
                </c:pt>
                <c:pt idx="5">
                  <c:v>2.918574045021750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2.8901017652686869E-6</c:v>
                </c:pt>
                <c:pt idx="1">
                  <c:v>4.4294749858201065E-6</c:v>
                </c:pt>
                <c:pt idx="2">
                  <c:v>3.5931159572567262E-3</c:v>
                </c:pt>
                <c:pt idx="3">
                  <c:v>5.7723727348812101E-3</c:v>
                </c:pt>
                <c:pt idx="4">
                  <c:v>1.8595720784990021E-2</c:v>
                </c:pt>
                <c:pt idx="5">
                  <c:v>1.713885061926759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488595978150227E-2</c:v>
                </c:pt>
                <c:pt idx="1">
                  <c:v>2.9414697921626883E-2</c:v>
                </c:pt>
                <c:pt idx="2">
                  <c:v>5.0340216385487899E-2</c:v>
                </c:pt>
                <c:pt idx="3">
                  <c:v>0.12392285084439991</c:v>
                </c:pt>
                <c:pt idx="4">
                  <c:v>0.18789908837705399</c:v>
                </c:pt>
                <c:pt idx="5">
                  <c:v>8.20743414286766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7.4220041840183384E-4</c:v>
                </c:pt>
                <c:pt idx="2">
                  <c:v>6.1995792445291235E-2</c:v>
                </c:pt>
                <c:pt idx="3">
                  <c:v>3.2848087998600943E-2</c:v>
                </c:pt>
                <c:pt idx="4">
                  <c:v>0.29327202715026929</c:v>
                </c:pt>
                <c:pt idx="5">
                  <c:v>0.193072582539631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2.8323074475378015E-6</c:v>
                </c:pt>
                <c:pt idx="3">
                  <c:v>2.1861107551566051E-2</c:v>
                </c:pt>
                <c:pt idx="4">
                  <c:v>4.57410598137033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91222495276866E-2</c:v>
                </c:pt>
                <c:pt idx="3">
                  <c:v>1.3676815514038248E-2</c:v>
                </c:pt>
                <c:pt idx="4">
                  <c:v>2.1887732286704806E-2</c:v>
                </c:pt>
                <c:pt idx="5">
                  <c:v>4.4979926830942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26427056801026E-3</c:v>
                </c:pt>
                <c:pt idx="2">
                  <c:v>8.3330717890754934E-3</c:v>
                </c:pt>
                <c:pt idx="3">
                  <c:v>4.6281910346014643E-2</c:v>
                </c:pt>
                <c:pt idx="4">
                  <c:v>8.162191678381811E-2</c:v>
                </c:pt>
                <c:pt idx="5">
                  <c:v>0.1062657141459950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682222764157067E-3</c:v>
                </c:pt>
                <c:pt idx="1">
                  <c:v>7.8945305898618591E-4</c:v>
                </c:pt>
                <c:pt idx="2">
                  <c:v>9.0252103185351429E-2</c:v>
                </c:pt>
                <c:pt idx="3">
                  <c:v>0.1171313557101295</c:v>
                </c:pt>
                <c:pt idx="4">
                  <c:v>0.39028051997850438</c:v>
                </c:pt>
                <c:pt idx="5">
                  <c:v>0.40047834579061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4034689622338669E-2</c:v>
                </c:pt>
                <c:pt idx="3">
                  <c:v>4.6417954837924109E-2</c:v>
                </c:pt>
                <c:pt idx="4">
                  <c:v>0.22957245323304334</c:v>
                </c:pt>
                <c:pt idx="5">
                  <c:v>0.256970278131396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3.7425965099852465E-2</c:v>
                </c:pt>
                <c:pt idx="3">
                  <c:v>2.5716030958083742E-2</c:v>
                </c:pt>
                <c:pt idx="4">
                  <c:v>6.3358470524081029E-2</c:v>
                </c:pt>
                <c:pt idx="5">
                  <c:v>6.548908906732785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499612122524087E-2</c:v>
                </c:pt>
                <c:pt idx="4">
                  <c:v>5.529659623155293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682222764157067E-3</c:v>
                </c:pt>
                <c:pt idx="1">
                  <c:v>7.8945305898618591E-4</c:v>
                </c:pt>
                <c:pt idx="2">
                  <c:v>8.7914484631603004E-3</c:v>
                </c:pt>
                <c:pt idx="3">
                  <c:v>1.4497757791597572E-2</c:v>
                </c:pt>
                <c:pt idx="4">
                  <c:v>4.2052999989827082E-2</c:v>
                </c:pt>
                <c:pt idx="5">
                  <c:v>7.801897859188816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65385076760837E-2</c:v>
                </c:pt>
                <c:pt idx="1">
                  <c:v>6.769019309011845E-2</c:v>
                </c:pt>
                <c:pt idx="2">
                  <c:v>0.2155827171638198</c:v>
                </c:pt>
                <c:pt idx="3">
                  <c:v>0.48406983154121125</c:v>
                </c:pt>
                <c:pt idx="4">
                  <c:v>0.20698825809317256</c:v>
                </c:pt>
                <c:pt idx="5">
                  <c:v>1.05036150349171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9058219281063743E-6</c:v>
                </c:pt>
                <c:pt idx="1">
                  <c:v>5.3916062506433514E-2</c:v>
                </c:pt>
                <c:pt idx="2">
                  <c:v>8.8341671237807076E-2</c:v>
                </c:pt>
                <c:pt idx="3">
                  <c:v>0.15680298312130952</c:v>
                </c:pt>
                <c:pt idx="4">
                  <c:v>7.5012050250260628E-2</c:v>
                </c:pt>
                <c:pt idx="5">
                  <c:v>1.59868148342562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470653653372523E-2</c:v>
                </c:pt>
                <c:pt idx="4">
                  <c:v>6.9302417226503557E-2</c:v>
                </c:pt>
                <c:pt idx="5">
                  <c:v>3.042306869661903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4.5146415757424413E-4</c:v>
                </c:pt>
                <c:pt idx="2">
                  <c:v>7.2993842713101734E-2</c:v>
                </c:pt>
                <c:pt idx="3">
                  <c:v>3.2530170288126242E-2</c:v>
                </c:pt>
                <c:pt idx="4">
                  <c:v>1.62527038158477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62479254832733E-2</c:v>
                </c:pt>
                <c:pt idx="1">
                  <c:v>1.3322666426110685E-2</c:v>
                </c:pt>
                <c:pt idx="2">
                  <c:v>5.4247203212910995E-2</c:v>
                </c:pt>
                <c:pt idx="3">
                  <c:v>0.21003014159805025</c:v>
                </c:pt>
                <c:pt idx="4">
                  <c:v>4.6421086800560667E-2</c:v>
                </c:pt>
                <c:pt idx="5">
                  <c:v>5.862626681829573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1</c:v>
                </c:pt>
                <c:pt idx="5">
                  <c:v>1.38875553642803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3898806779292177E-6</c:v>
                </c:pt>
                <c:pt idx="1">
                  <c:v>3.3256611750207041E-2</c:v>
                </c:pt>
                <c:pt idx="2">
                  <c:v>6.6171918699067203E-2</c:v>
                </c:pt>
                <c:pt idx="3">
                  <c:v>0.14902085782732866</c:v>
                </c:pt>
                <c:pt idx="4">
                  <c:v>7.41689153756588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354382219192336E-2</c:v>
                </c:pt>
                <c:pt idx="4">
                  <c:v>7.8275086191821081E-2</c:v>
                </c:pt>
                <c:pt idx="5">
                  <c:v>3.984253334131555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5398160212401056E-4</c:v>
                </c:pt>
                <c:pt idx="2">
                  <c:v>7.2726081771241943E-2</c:v>
                </c:pt>
                <c:pt idx="3">
                  <c:v>4.416413057141879E-2</c:v>
                </c:pt>
                <c:pt idx="4">
                  <c:v>1.33865466545600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363996675507241E-2</c:v>
                </c:pt>
                <c:pt idx="1">
                  <c:v>1.2544411333323277E-2</c:v>
                </c:pt>
                <c:pt idx="2">
                  <c:v>5.7655972142392473E-2</c:v>
                </c:pt>
                <c:pt idx="3">
                  <c:v>0.22249126397627481</c:v>
                </c:pt>
                <c:pt idx="4">
                  <c:v>6.6276897964923975E-2</c:v>
                </c:pt>
                <c:pt idx="5">
                  <c:v>9.903302030148813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3300000000000001</c:v>
                </c:pt>
                <c:pt idx="3">
                  <c:v>0.15</c:v>
                </c:pt>
                <c:pt idx="4">
                  <c:v>0.39340000000000003</c:v>
                </c:pt>
                <c:pt idx="5">
                  <c:v>0.223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301996601009916E-2</c:v>
                </c:pt>
                <c:pt idx="1">
                  <c:v>7.1126025878935378E-2</c:v>
                </c:pt>
                <c:pt idx="2">
                  <c:v>0.23033524417359652</c:v>
                </c:pt>
                <c:pt idx="3">
                  <c:v>0.46134285060537805</c:v>
                </c:pt>
                <c:pt idx="4">
                  <c:v>0.19716732528025699</c:v>
                </c:pt>
                <c:pt idx="5">
                  <c:v>1.47265574608231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10031436665925586</c:v>
                </c:pt>
                <c:pt idx="4">
                  <c:v>7.9905011925908903E-2</c:v>
                </c:pt>
                <c:pt idx="5">
                  <c:v>3.250143911872785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6545613513717854E-2</c:v>
                </c:pt>
                <c:pt idx="2">
                  <c:v>7.6199858221541197E-2</c:v>
                </c:pt>
                <c:pt idx="3">
                  <c:v>9.8270150594074693E-2</c:v>
                </c:pt>
                <c:pt idx="4">
                  <c:v>5.834866022849737E-2</c:v>
                </c:pt>
                <c:pt idx="5">
                  <c:v>4.1082753755869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1747138792427803E-2</c:v>
                </c:pt>
                <c:pt idx="2">
                  <c:v>5.2075568517397058E-2</c:v>
                </c:pt>
                <c:pt idx="3">
                  <c:v>8.5923322855900236E-2</c:v>
                </c:pt>
                <c:pt idx="4">
                  <c:v>2.3717506296066459E-2</c:v>
                </c:pt>
                <c:pt idx="5">
                  <c:v>7.309045101369602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5301996601009916E-2</c:v>
                </c:pt>
                <c:pt idx="1">
                  <c:v>2.8332735727897144E-3</c:v>
                </c:pt>
                <c:pt idx="2">
                  <c:v>0.10205981743465826</c:v>
                </c:pt>
                <c:pt idx="3">
                  <c:v>0.17683501049614725</c:v>
                </c:pt>
                <c:pt idx="4">
                  <c:v>3.5196146829784253E-2</c:v>
                </c:pt>
                <c:pt idx="5">
                  <c:v>5.90930719938637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810004802424E-3</c:v>
                </c:pt>
                <c:pt idx="2">
                  <c:v>6.5371844667268725E-2</c:v>
                </c:pt>
                <c:pt idx="3">
                  <c:v>0.18285905725428619</c:v>
                </c:pt>
                <c:pt idx="4">
                  <c:v>0.5880937669185049</c:v>
                </c:pt>
                <c:pt idx="5">
                  <c:v>0.1576957924175024</c:v>
                </c:pt>
                <c:pt idx="6">
                  <c:v>3.970535465747346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1154772587513647E-5</c:v>
                </c:pt>
                <c:pt idx="2">
                  <c:v>2.4233718295497964E-2</c:v>
                </c:pt>
                <c:pt idx="3">
                  <c:v>9.3817259810823811E-2</c:v>
                </c:pt>
                <c:pt idx="4">
                  <c:v>0.2514701287433227</c:v>
                </c:pt>
                <c:pt idx="5">
                  <c:v>7.8216082905107454E-2</c:v>
                </c:pt>
                <c:pt idx="6">
                  <c:v>3.803331031781629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3524199763315763E-4</c:v>
                </c:pt>
                <c:pt idx="2">
                  <c:v>3.3481108169054898E-2</c:v>
                </c:pt>
                <c:pt idx="3">
                  <c:v>4.901000674680546E-2</c:v>
                </c:pt>
                <c:pt idx="4">
                  <c:v>0.15644648476342674</c:v>
                </c:pt>
                <c:pt idx="5">
                  <c:v>8.836832456448871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398713891251741E-3</c:v>
                </c:pt>
                <c:pt idx="3">
                  <c:v>2.3555383845134243E-2</c:v>
                </c:pt>
                <c:pt idx="4">
                  <c:v>4.9830623433737023E-2</c:v>
                </c:pt>
                <c:pt idx="5">
                  <c:v>6.950786268319173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5.5171468135906962E-3</c:v>
                </c:pt>
                <c:pt idx="3">
                  <c:v>1.6476406851522699E-2</c:v>
                </c:pt>
                <c:pt idx="4">
                  <c:v>0.13034652997801841</c:v>
                </c:pt>
                <c:pt idx="5">
                  <c:v>6.9947798429114166E-2</c:v>
                </c:pt>
                <c:pt idx="6">
                  <c:v>1.672044339657164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22</c:v>
                </c:pt>
                <c:pt idx="4">
                  <c:v>0.56644603950565164</c:v>
                </c:pt>
                <c:pt idx="5">
                  <c:v>0.19549927143426438</c:v>
                </c:pt>
                <c:pt idx="6">
                  <c:v>8.1053550458520243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6660861855259E-2</c:v>
                </c:pt>
                <c:pt idx="3">
                  <c:v>5.5424375919261658E-2</c:v>
                </c:pt>
                <c:pt idx="4">
                  <c:v>0.20615380813581238</c:v>
                </c:pt>
                <c:pt idx="5">
                  <c:v>0.1052574180958061</c:v>
                </c:pt>
                <c:pt idx="6">
                  <c:v>5.182356240399011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0567911570269795E-5</c:v>
                </c:pt>
                <c:pt idx="2">
                  <c:v>3.2908010742209462E-2</c:v>
                </c:pt>
                <c:pt idx="3">
                  <c:v>5.2867011871372105E-2</c:v>
                </c:pt>
                <c:pt idx="4">
                  <c:v>0.16366770150492665</c:v>
                </c:pt>
                <c:pt idx="5">
                  <c:v>7.836428086334947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155196105875398E-3</c:v>
                </c:pt>
                <c:pt idx="3">
                  <c:v>2.361021788117313E-2</c:v>
                </c:pt>
                <c:pt idx="4">
                  <c:v>3.7662743498810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2685386025406056E-3</c:v>
                </c:pt>
                <c:pt idx="3">
                  <c:v>1.42372502267753E-2</c:v>
                </c:pt>
                <c:pt idx="4">
                  <c:v>0.15896178636610173</c:v>
                </c:pt>
                <c:pt idx="5">
                  <c:v>8.2405425252123327E-2</c:v>
                </c:pt>
                <c:pt idx="6">
                  <c:v>2.92299880545301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21926824658941E-2</c:v>
                </c:pt>
                <c:pt idx="1">
                  <c:v>8.8029163127424148E-2</c:v>
                </c:pt>
                <c:pt idx="2">
                  <c:v>0.14284168638962264</c:v>
                </c:pt>
                <c:pt idx="3">
                  <c:v>0.22197384656282371</c:v>
                </c:pt>
                <c:pt idx="4">
                  <c:v>0.36551887254863047</c:v>
                </c:pt>
                <c:pt idx="5">
                  <c:v>0.1485237048277909</c:v>
                </c:pt>
                <c:pt idx="6">
                  <c:v>3.890799719049167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942843330246545E-3</c:v>
                </c:pt>
                <c:pt idx="2">
                  <c:v>9.7506639456964889E-2</c:v>
                </c:pt>
                <c:pt idx="3">
                  <c:v>0.19168329326666833</c:v>
                </c:pt>
                <c:pt idx="4">
                  <c:v>0.56953386976592013</c:v>
                </c:pt>
                <c:pt idx="5">
                  <c:v>0.10787061450752936</c:v>
                </c:pt>
                <c:pt idx="6">
                  <c:v>3.011129866989259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4406965773053822E-2</c:v>
                </c:pt>
                <c:pt idx="3">
                  <c:v>7.0783552492644994E-2</c:v>
                </c:pt>
                <c:pt idx="4">
                  <c:v>0.2113977210367366</c:v>
                </c:pt>
                <c:pt idx="5">
                  <c:v>8.824129259378211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40842534406015E-2</c:v>
                </c:pt>
                <c:pt idx="3">
                  <c:v>8.9066615826644796E-2</c:v>
                </c:pt>
                <c:pt idx="4">
                  <c:v>0.19051496396025755</c:v>
                </c:pt>
                <c:pt idx="5">
                  <c:v>5.8069732131064318E-2</c:v>
                </c:pt>
                <c:pt idx="6">
                  <c:v>3.011129866989259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6460916667349466E-7</c:v>
                </c:pt>
                <c:pt idx="3">
                  <c:v>2.5167157857670375E-2</c:v>
                </c:pt>
                <c:pt idx="4">
                  <c:v>7.87349897115901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2942843330246545E-3</c:v>
                </c:pt>
                <c:pt idx="2">
                  <c:v>6.9088373068423446E-4</c:v>
                </c:pt>
                <c:pt idx="3">
                  <c:v>6.6659670897081663E-3</c:v>
                </c:pt>
                <c:pt idx="4">
                  <c:v>8.8886195057335859E-2</c:v>
                </c:pt>
                <c:pt idx="5">
                  <c:v>4.0976753117086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8E-2</c:v>
                </c:pt>
                <c:pt idx="4">
                  <c:v>0.89021699739939097</c:v>
                </c:pt>
                <c:pt idx="5">
                  <c:v>7.28159513002154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34087797771166439</c:v>
                </c:pt>
                <c:pt idx="5">
                  <c:v>1.3004613954895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10353675491168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1.1224575664137333E-3</c:v>
                </c:pt>
                <c:pt idx="4">
                  <c:v>0.16484119757410542</c:v>
                </c:pt>
                <c:pt idx="5">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365210675183357E-3</c:v>
                </c:pt>
                <c:pt idx="2">
                  <c:v>4.8498062295447069E-3</c:v>
                </c:pt>
                <c:pt idx="3">
                  <c:v>2.9491676630130272E-2</c:v>
                </c:pt>
                <c:pt idx="4">
                  <c:v>0.20346245456450432</c:v>
                </c:pt>
                <c:pt idx="5">
                  <c:v>4.13852558278645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2E-2</c:v>
                </c:pt>
                <c:pt idx="4">
                  <c:v>0.83839550714659039</c:v>
                </c:pt>
                <c:pt idx="5">
                  <c:v>0.1247227947512141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8.671674918966323E-5</c:v>
                </c:pt>
                <c:pt idx="4">
                  <c:v>0.20472408778743872</c:v>
                </c:pt>
                <c:pt idx="5">
                  <c:v>1.60999982988395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6134030379639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7811388833158634</c:v>
                </c:pt>
                <c:pt idx="5">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1095190109692449E-4</c:v>
                </c:pt>
                <c:pt idx="1">
                  <c:v>1.4491880932194251E-3</c:v>
                </c:pt>
                <c:pt idx="2">
                  <c:v>4.4576960941318028E-3</c:v>
                </c:pt>
                <c:pt idx="3">
                  <c:v>3.0277145264557642E-2</c:v>
                </c:pt>
                <c:pt idx="4">
                  <c:v>0.26942350064792608</c:v>
                </c:pt>
                <c:pt idx="5">
                  <c:v>8.788349064695438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2.8467978089494776E-3</c:v>
                </c:pt>
                <c:pt idx="3">
                  <c:v>1.832228985249577E-3</c:v>
                </c:pt>
                <c:pt idx="4">
                  <c:v>4.806538439918062E-3</c:v>
                </c:pt>
                <c:pt idx="5">
                  <c:v>2.732139120037946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4816311666600267E-2</c:v>
                </c:pt>
                <c:pt idx="1">
                  <c:v>5.4035216298964239E-2</c:v>
                </c:pt>
                <c:pt idx="2">
                  <c:v>7.0205327760858402E-2</c:v>
                </c:pt>
                <c:pt idx="3">
                  <c:v>7.2104068346901307E-2</c:v>
                </c:pt>
                <c:pt idx="4">
                  <c:v>0.16863271479348868</c:v>
                </c:pt>
                <c:pt idx="5">
                  <c:v>6.7880890340812239E-2</c:v>
                </c:pt>
                <c:pt idx="6">
                  <c:v>3.855744973526222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1.4394572867046614E-3</c:v>
                </c:pt>
                <c:pt idx="1">
                  <c:v>2.9372415954287061E-3</c:v>
                </c:pt>
                <c:pt idx="2">
                  <c:v>1.719561105266345E-2</c:v>
                </c:pt>
                <c:pt idx="3">
                  <c:v>2.0886969024342127E-2</c:v>
                </c:pt>
                <c:pt idx="4">
                  <c:v>2.8932117297572706E-2</c:v>
                </c:pt>
                <c:pt idx="5">
                  <c:v>4.99281183792981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1145440643191111E-3</c:v>
                </c:pt>
                <c:pt idx="3">
                  <c:v>4.9645025150797861E-3</c:v>
                </c:pt>
                <c:pt idx="4">
                  <c:v>1.5771672642236723E-2</c:v>
                </c:pt>
                <c:pt idx="5">
                  <c:v>1.892562727893538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966157871354014E-2</c:v>
                </c:pt>
                <c:pt idx="1">
                  <c:v>3.1056705233031213E-2</c:v>
                </c:pt>
                <c:pt idx="2">
                  <c:v>4.9479405702832213E-2</c:v>
                </c:pt>
                <c:pt idx="3">
                  <c:v>0.12218607769125095</c:v>
                </c:pt>
                <c:pt idx="4">
                  <c:v>0.14737582937541432</c:v>
                </c:pt>
                <c:pt idx="5">
                  <c:v>7.1025300801117325E-2</c:v>
                </c:pt>
                <c:pt idx="6">
                  <c:v>3.5054745522945021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6124875882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754454081973494</c:v>
                </c:pt>
                <c:pt idx="5">
                  <c:v>2.2765783682231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700735214488155</c:v>
                </c:pt>
                <c:pt idx="5">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3253304601556915E-2</c:v>
                </c:pt>
                <c:pt idx="4">
                  <c:v>0.16065304457669638</c:v>
                </c:pt>
                <c:pt idx="5">
                  <c:v>4.33943845516836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19687086370011E-2</c:v>
                </c:pt>
                <c:pt idx="1">
                  <c:v>0.15610494674537898</c:v>
                </c:pt>
                <c:pt idx="2">
                  <c:v>2.4983151768837048E-2</c:v>
                </c:pt>
                <c:pt idx="3">
                  <c:v>0.33241322699595138</c:v>
                </c:pt>
                <c:pt idx="4">
                  <c:v>0.44155358609005096</c:v>
                </c:pt>
                <c:pt idx="5">
                  <c:v>1.54219990674024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5.6035520196260737E-3</c:v>
                </c:pt>
                <c:pt idx="1">
                  <c:v>4.9202344845834682E-2</c:v>
                </c:pt>
                <c:pt idx="2">
                  <c:v>1.350622767108383E-2</c:v>
                </c:pt>
                <c:pt idx="3">
                  <c:v>0.12289874928884116</c:v>
                </c:pt>
                <c:pt idx="4">
                  <c:v>0.18570195668086406</c:v>
                </c:pt>
                <c:pt idx="5">
                  <c:v>4.015851442184035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2174329166919292E-2</c:v>
                </c:pt>
                <c:pt idx="3">
                  <c:v>6.7871990969487928E-2</c:v>
                </c:pt>
                <c:pt idx="4">
                  <c:v>4.07556553417644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494860494824936E-3</c:v>
                </c:pt>
                <c:pt idx="3">
                  <c:v>4.7289504177559748E-2</c:v>
                </c:pt>
                <c:pt idx="4">
                  <c:v>6.1367839635894476E-3</c:v>
                </c:pt>
                <c:pt idx="5">
                  <c:v>6.02506469185837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3916135066743938E-2</c:v>
                </c:pt>
                <c:pt idx="1">
                  <c:v>7.223341223780004E-2</c:v>
                </c:pt>
                <c:pt idx="2">
                  <c:v>1.1476924097753218E-2</c:v>
                </c:pt>
                <c:pt idx="3">
                  <c:v>9.4352982560062582E-2</c:v>
                </c:pt>
                <c:pt idx="4">
                  <c:v>0.24563927991142095</c:v>
                </c:pt>
                <c:pt idx="5">
                  <c:v>1.08036411560326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295936018988206E-2</c:v>
                </c:pt>
                <c:pt idx="1">
                  <c:v>0.15937207117371921</c:v>
                </c:pt>
                <c:pt idx="2">
                  <c:v>3.7684488257838142E-2</c:v>
                </c:pt>
                <c:pt idx="3">
                  <c:v>0.26112921429863639</c:v>
                </c:pt>
                <c:pt idx="4">
                  <c:v>0.46450291190561643</c:v>
                </c:pt>
                <c:pt idx="5">
                  <c:v>1.43512567817688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9026544909140497E-2</c:v>
                </c:pt>
                <c:pt idx="1">
                  <c:v>4.9076295754269951E-2</c:v>
                </c:pt>
                <c:pt idx="2">
                  <c:v>1.8743264202139311E-2</c:v>
                </c:pt>
                <c:pt idx="3">
                  <c:v>8.2009121296644588E-2</c:v>
                </c:pt>
                <c:pt idx="4">
                  <c:v>0.17396774269164286</c:v>
                </c:pt>
                <c:pt idx="5">
                  <c:v>4.31893776128825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2.5508156852576954E-2</c:v>
                </c:pt>
                <c:pt idx="3">
                  <c:v>5.3635720081493594E-2</c:v>
                </c:pt>
                <c:pt idx="4">
                  <c:v>7.056146546709267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7297754491382299E-3</c:v>
                </c:pt>
                <c:pt idx="3">
                  <c:v>4.0675177882420498E-2</c:v>
                </c:pt>
                <c:pt idx="4">
                  <c:v>3.3293519810025716E-3</c:v>
                </c:pt>
                <c:pt idx="5">
                  <c:v>4.933127100601478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3.393281528074156E-2</c:v>
                </c:pt>
                <c:pt idx="1">
                  <c:v>8.3057843117734051E-2</c:v>
                </c:pt>
                <c:pt idx="2">
                  <c:v>1.8941224055698834E-2</c:v>
                </c:pt>
                <c:pt idx="3">
                  <c:v>8.4809195038077698E-2</c:v>
                </c:pt>
                <c:pt idx="4">
                  <c:v>0.28014967068626173</c:v>
                </c:pt>
                <c:pt idx="5">
                  <c:v>9.53900631042043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244581526303865E-3</c:v>
                </c:pt>
                <c:pt idx="1">
                  <c:v>0.13194345924355352</c:v>
                </c:pt>
                <c:pt idx="2">
                  <c:v>1.9551950596549565E-2</c:v>
                </c:pt>
                <c:pt idx="3">
                  <c:v>0.39058342036370747</c:v>
                </c:pt>
                <c:pt idx="4">
                  <c:v>0.44053261070710614</c:v>
                </c:pt>
                <c:pt idx="5">
                  <c:v>1.5664100936453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4.8520767603681979E-2</c:v>
                </c:pt>
                <c:pt idx="2">
                  <c:v>1.3246838271277345E-2</c:v>
                </c:pt>
                <c:pt idx="3">
                  <c:v>0.15771842037298539</c:v>
                </c:pt>
                <c:pt idx="4">
                  <c:v>0.20309622610094757</c:v>
                </c:pt>
                <c:pt idx="5">
                  <c:v>7.977731807671617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2579824888870743E-2</c:v>
                </c:pt>
                <c:pt idx="3">
                  <c:v>7.528890401107825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4261093146482451E-3</c:v>
                </c:pt>
                <c:pt idx="3">
                  <c:v>5.8842516548985181E-2</c:v>
                </c:pt>
                <c:pt idx="4">
                  <c:v>7.5134948389905748E-3</c:v>
                </c:pt>
                <c:pt idx="5">
                  <c:v>4.242488242675826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7244581526303867E-3</c:v>
                </c:pt>
                <c:pt idx="1">
                  <c:v>3.7416757436352553E-2</c:v>
                </c:pt>
                <c:pt idx="2">
                  <c:v>6.3051123252722205E-3</c:v>
                </c:pt>
                <c:pt idx="3">
                  <c:v>9.8733579430658566E-2</c:v>
                </c:pt>
                <c:pt idx="4">
                  <c:v>0.22992288976716796</c:v>
                </c:pt>
                <c:pt idx="5">
                  <c:v>7.262120304513810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583873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366785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63453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25969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664488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181194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09189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5931311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35056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808024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31454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06841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34801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343412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88177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99272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61375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71439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05174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879949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5012868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181640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2020467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835030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900016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42653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525261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501726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798640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359174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42005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7389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312981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86211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0727586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898945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934962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326152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296214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29503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300620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322935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449927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72994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67015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642556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016932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61715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5272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62077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789618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615493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18259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738878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332895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3839060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072444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818526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485308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636669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337275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663420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101507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654427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072786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60783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04749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645711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254552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75145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938164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86793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752869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95474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039177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646092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43846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390040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012050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012951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611610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263858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863651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5737806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0575401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416453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229363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82060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56710600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005449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255174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27114388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900186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4943424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7944703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7908065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1275097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9863142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142411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497</Words>
  <Application>Microsoft Office PowerPoint</Application>
  <PresentationFormat>On-screen Show (16:9)</PresentationFormat>
  <Paragraphs>2437</Paragraphs>
  <Slides>9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08"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2: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